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3" r:id="rId1"/>
  </p:sldMasterIdLst>
  <p:notesMasterIdLst>
    <p:notesMasterId r:id="rId32"/>
  </p:notesMasterIdLst>
  <p:sldIdLst>
    <p:sldId id="280" r:id="rId2"/>
    <p:sldId id="265" r:id="rId3"/>
    <p:sldId id="266" r:id="rId4"/>
    <p:sldId id="264" r:id="rId5"/>
    <p:sldId id="258" r:id="rId6"/>
    <p:sldId id="290" r:id="rId7"/>
    <p:sldId id="282" r:id="rId8"/>
    <p:sldId id="283" r:id="rId9"/>
    <p:sldId id="284" r:id="rId10"/>
    <p:sldId id="285" r:id="rId11"/>
    <p:sldId id="267" r:id="rId12"/>
    <p:sldId id="268" r:id="rId13"/>
    <p:sldId id="269" r:id="rId14"/>
    <p:sldId id="286" r:id="rId15"/>
    <p:sldId id="287" r:id="rId16"/>
    <p:sldId id="270" r:id="rId17"/>
    <p:sldId id="271" r:id="rId18"/>
    <p:sldId id="275" r:id="rId19"/>
    <p:sldId id="273" r:id="rId20"/>
    <p:sldId id="274" r:id="rId21"/>
    <p:sldId id="288" r:id="rId22"/>
    <p:sldId id="276" r:id="rId23"/>
    <p:sldId id="291" r:id="rId24"/>
    <p:sldId id="292" r:id="rId25"/>
    <p:sldId id="293" r:id="rId26"/>
    <p:sldId id="294" r:id="rId27"/>
    <p:sldId id="289" r:id="rId28"/>
    <p:sldId id="277" r:id="rId29"/>
    <p:sldId id="278" r:id="rId30"/>
    <p:sldId id="281" r:id="rId31"/>
  </p:sldIdLst>
  <p:sldSz cx="9144000" cy="6858000" type="screen4x3"/>
  <p:notesSz cx="7099300" cy="10234613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06"/>
    <p:restoredTop sz="94674"/>
  </p:normalViewPr>
  <p:slideViewPr>
    <p:cSldViewPr snapToGrid="0">
      <p:cViewPr varScale="1">
        <p:scale>
          <a:sx n="132" d="100"/>
          <a:sy n="132" d="100"/>
        </p:scale>
        <p:origin x="204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notesMaster" Target="notesMasters/notesMaster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012825"/>
            <a:ext cx="6113462" cy="4586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482600" y="5765800"/>
            <a:ext cx="6127750" cy="37433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41288" marR="0" lvl="0" indent="-84138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69875" marR="0" lvl="1" indent="-73025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438150" marR="0" lvl="2" indent="-114300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617538" marR="0" lvl="3" indent="-128587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85813" marR="0" lvl="4" indent="-119062" algn="l" rtl="0">
              <a:spcBef>
                <a:spcPts val="300"/>
              </a:spcBef>
              <a:spcAft>
                <a:spcPts val="300"/>
              </a:spcAft>
              <a:buClr>
                <a:schemeClr val="dk2"/>
              </a:buClr>
              <a:buSzPct val="75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Char char="●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Char char="○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Shape 5"/>
          <p:cNvSpPr txBox="1">
            <a:spLocks noGrp="1"/>
          </p:cNvSpPr>
          <p:nvPr>
            <p:ph type="dt" idx="10"/>
          </p:nvPr>
        </p:nvSpPr>
        <p:spPr>
          <a:xfrm>
            <a:off x="5070475" y="9647238"/>
            <a:ext cx="1150938" cy="2889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Noto Sans Symbols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ftr" idx="11"/>
          </p:nvPr>
        </p:nvSpPr>
        <p:spPr>
          <a:xfrm>
            <a:off x="492125" y="9647238"/>
            <a:ext cx="4679950" cy="2889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Noto Sans Symbols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sldNum" idx="12"/>
          </p:nvPr>
        </p:nvSpPr>
        <p:spPr>
          <a:xfrm>
            <a:off x="6364288" y="9647238"/>
            <a:ext cx="490537" cy="28892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Noto Sans Symbols"/>
              <a:buNone/>
            </a:pPr>
            <a:fld id="{00000000-1234-1234-1234-123412341234}" type="slidenum">
              <a:rPr lang="de-DE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" name="Shape 8"/>
          <p:cNvGrpSpPr/>
          <p:nvPr/>
        </p:nvGrpSpPr>
        <p:grpSpPr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9" name="Shape 9"/>
            <p:cNvSpPr/>
            <p:nvPr/>
          </p:nvSpPr>
          <p:spPr>
            <a:xfrm>
              <a:off x="7307384" y="6310141"/>
              <a:ext cx="1512766" cy="12161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97661"/>
                  </a:moveTo>
                  <a:lnTo>
                    <a:pt x="0" y="2291"/>
                  </a:lnTo>
                  <a:lnTo>
                    <a:pt x="4528" y="2291"/>
                  </a:lnTo>
                  <a:lnTo>
                    <a:pt x="4528" y="19761"/>
                  </a:lnTo>
                  <a:lnTo>
                    <a:pt x="1530" y="19761"/>
                  </a:lnTo>
                  <a:lnTo>
                    <a:pt x="1530" y="40095"/>
                  </a:lnTo>
                  <a:lnTo>
                    <a:pt x="4252" y="40095"/>
                  </a:lnTo>
                  <a:lnTo>
                    <a:pt x="4252" y="56706"/>
                  </a:lnTo>
                  <a:lnTo>
                    <a:pt x="1530" y="56706"/>
                  </a:lnTo>
                  <a:lnTo>
                    <a:pt x="1530" y="80190"/>
                  </a:lnTo>
                  <a:lnTo>
                    <a:pt x="4592" y="80190"/>
                  </a:lnTo>
                  <a:lnTo>
                    <a:pt x="4592" y="97661"/>
                  </a:lnTo>
                  <a:lnTo>
                    <a:pt x="0" y="97661"/>
                  </a:lnTo>
                  <a:close/>
                  <a:moveTo>
                    <a:pt x="7313" y="44677"/>
                  </a:moveTo>
                  <a:lnTo>
                    <a:pt x="8143" y="44677"/>
                  </a:lnTo>
                  <a:cubicBezTo>
                    <a:pt x="8610" y="44677"/>
                    <a:pt x="8929" y="43245"/>
                    <a:pt x="9099" y="40668"/>
                  </a:cubicBezTo>
                  <a:cubicBezTo>
                    <a:pt x="9248" y="38377"/>
                    <a:pt x="9312" y="35226"/>
                    <a:pt x="9312" y="31217"/>
                  </a:cubicBezTo>
                  <a:cubicBezTo>
                    <a:pt x="9312" y="26348"/>
                    <a:pt x="9206" y="22625"/>
                    <a:pt x="8951" y="20334"/>
                  </a:cubicBezTo>
                  <a:cubicBezTo>
                    <a:pt x="8802" y="19188"/>
                    <a:pt x="8547" y="18329"/>
                    <a:pt x="8185" y="18329"/>
                  </a:cubicBezTo>
                  <a:lnTo>
                    <a:pt x="7313" y="18329"/>
                  </a:lnTo>
                  <a:lnTo>
                    <a:pt x="7313" y="44677"/>
                  </a:lnTo>
                  <a:close/>
                  <a:moveTo>
                    <a:pt x="5804" y="97661"/>
                  </a:moveTo>
                  <a:lnTo>
                    <a:pt x="5804" y="2291"/>
                  </a:lnTo>
                  <a:lnTo>
                    <a:pt x="8525" y="2291"/>
                  </a:lnTo>
                  <a:cubicBezTo>
                    <a:pt x="9227" y="2291"/>
                    <a:pt x="9780" y="4295"/>
                    <a:pt x="10163" y="8591"/>
                  </a:cubicBezTo>
                  <a:cubicBezTo>
                    <a:pt x="10630" y="13174"/>
                    <a:pt x="10843" y="20047"/>
                    <a:pt x="10843" y="28926"/>
                  </a:cubicBezTo>
                  <a:cubicBezTo>
                    <a:pt x="10843" y="36085"/>
                    <a:pt x="10694" y="42100"/>
                    <a:pt x="10375" y="46968"/>
                  </a:cubicBezTo>
                  <a:cubicBezTo>
                    <a:pt x="10226" y="49260"/>
                    <a:pt x="10056" y="50978"/>
                    <a:pt x="9822" y="52410"/>
                  </a:cubicBezTo>
                  <a:cubicBezTo>
                    <a:pt x="10120" y="53556"/>
                    <a:pt x="10333" y="56133"/>
                    <a:pt x="10503" y="59856"/>
                  </a:cubicBezTo>
                  <a:cubicBezTo>
                    <a:pt x="10588" y="61861"/>
                    <a:pt x="10673" y="65298"/>
                    <a:pt x="10715" y="69594"/>
                  </a:cubicBezTo>
                  <a:cubicBezTo>
                    <a:pt x="10737" y="71312"/>
                    <a:pt x="10779" y="75894"/>
                    <a:pt x="10800" y="83914"/>
                  </a:cubicBezTo>
                  <a:cubicBezTo>
                    <a:pt x="10843" y="89069"/>
                    <a:pt x="10885" y="92219"/>
                    <a:pt x="10928" y="93937"/>
                  </a:cubicBezTo>
                  <a:cubicBezTo>
                    <a:pt x="10949" y="95083"/>
                    <a:pt x="10992" y="96229"/>
                    <a:pt x="11055" y="97661"/>
                  </a:cubicBezTo>
                  <a:lnTo>
                    <a:pt x="9482" y="97661"/>
                  </a:lnTo>
                  <a:cubicBezTo>
                    <a:pt x="9440" y="95942"/>
                    <a:pt x="9397" y="94224"/>
                    <a:pt x="9376" y="92219"/>
                  </a:cubicBezTo>
                  <a:cubicBezTo>
                    <a:pt x="9376" y="91073"/>
                    <a:pt x="9355" y="86778"/>
                    <a:pt x="9312" y="79904"/>
                  </a:cubicBezTo>
                  <a:cubicBezTo>
                    <a:pt x="9270" y="73317"/>
                    <a:pt x="9206" y="68735"/>
                    <a:pt x="9121" y="66730"/>
                  </a:cubicBezTo>
                  <a:cubicBezTo>
                    <a:pt x="9014" y="63579"/>
                    <a:pt x="8866" y="61575"/>
                    <a:pt x="8653" y="60715"/>
                  </a:cubicBezTo>
                  <a:cubicBezTo>
                    <a:pt x="8547" y="60429"/>
                    <a:pt x="8377" y="60143"/>
                    <a:pt x="8185" y="60143"/>
                  </a:cubicBezTo>
                  <a:lnTo>
                    <a:pt x="7313" y="60143"/>
                  </a:lnTo>
                  <a:lnTo>
                    <a:pt x="7313" y="97661"/>
                  </a:lnTo>
                  <a:lnTo>
                    <a:pt x="5804" y="97661"/>
                  </a:lnTo>
                  <a:close/>
                  <a:moveTo>
                    <a:pt x="12182" y="97661"/>
                  </a:moveTo>
                  <a:lnTo>
                    <a:pt x="12182" y="2291"/>
                  </a:lnTo>
                  <a:lnTo>
                    <a:pt x="13713" y="2291"/>
                  </a:lnTo>
                  <a:lnTo>
                    <a:pt x="13713" y="79904"/>
                  </a:lnTo>
                  <a:lnTo>
                    <a:pt x="16477" y="79904"/>
                  </a:lnTo>
                  <a:lnTo>
                    <a:pt x="16477" y="97661"/>
                  </a:lnTo>
                  <a:lnTo>
                    <a:pt x="12182" y="97661"/>
                  </a:lnTo>
                  <a:close/>
                  <a:moveTo>
                    <a:pt x="17391" y="97661"/>
                  </a:moveTo>
                  <a:lnTo>
                    <a:pt x="17391" y="2291"/>
                  </a:lnTo>
                  <a:lnTo>
                    <a:pt x="21920" y="2291"/>
                  </a:lnTo>
                  <a:lnTo>
                    <a:pt x="21920" y="19761"/>
                  </a:lnTo>
                  <a:lnTo>
                    <a:pt x="18922" y="19761"/>
                  </a:lnTo>
                  <a:lnTo>
                    <a:pt x="18922" y="40095"/>
                  </a:lnTo>
                  <a:lnTo>
                    <a:pt x="21644" y="40095"/>
                  </a:lnTo>
                  <a:lnTo>
                    <a:pt x="21644" y="56706"/>
                  </a:lnTo>
                  <a:lnTo>
                    <a:pt x="18922" y="56706"/>
                  </a:lnTo>
                  <a:lnTo>
                    <a:pt x="18922" y="80190"/>
                  </a:lnTo>
                  <a:lnTo>
                    <a:pt x="21984" y="80190"/>
                  </a:lnTo>
                  <a:lnTo>
                    <a:pt x="21984" y="97661"/>
                  </a:lnTo>
                  <a:lnTo>
                    <a:pt x="17391" y="97661"/>
                  </a:lnTo>
                  <a:close/>
                  <a:moveTo>
                    <a:pt x="24705" y="81336"/>
                  </a:moveTo>
                  <a:lnTo>
                    <a:pt x="25535" y="81336"/>
                  </a:lnTo>
                  <a:cubicBezTo>
                    <a:pt x="25960" y="81336"/>
                    <a:pt x="26257" y="80190"/>
                    <a:pt x="26428" y="78472"/>
                  </a:cubicBezTo>
                  <a:cubicBezTo>
                    <a:pt x="26640" y="75894"/>
                    <a:pt x="26768" y="72458"/>
                    <a:pt x="26768" y="68162"/>
                  </a:cubicBezTo>
                  <a:cubicBezTo>
                    <a:pt x="26768" y="62720"/>
                    <a:pt x="26619" y="58997"/>
                    <a:pt x="26321" y="56992"/>
                  </a:cubicBezTo>
                  <a:cubicBezTo>
                    <a:pt x="26151" y="55560"/>
                    <a:pt x="25854" y="54988"/>
                    <a:pt x="25471" y="54988"/>
                  </a:cubicBezTo>
                  <a:lnTo>
                    <a:pt x="24705" y="54988"/>
                  </a:lnTo>
                  <a:lnTo>
                    <a:pt x="24705" y="81336"/>
                  </a:lnTo>
                  <a:close/>
                  <a:moveTo>
                    <a:pt x="24705" y="40668"/>
                  </a:moveTo>
                  <a:lnTo>
                    <a:pt x="25386" y="40668"/>
                  </a:lnTo>
                  <a:cubicBezTo>
                    <a:pt x="25768" y="40668"/>
                    <a:pt x="26024" y="40095"/>
                    <a:pt x="26194" y="38377"/>
                  </a:cubicBezTo>
                  <a:cubicBezTo>
                    <a:pt x="26406" y="36372"/>
                    <a:pt x="26513" y="33221"/>
                    <a:pt x="26513" y="29212"/>
                  </a:cubicBezTo>
                  <a:cubicBezTo>
                    <a:pt x="26513" y="24916"/>
                    <a:pt x="26385" y="21766"/>
                    <a:pt x="26109" y="20047"/>
                  </a:cubicBezTo>
                  <a:cubicBezTo>
                    <a:pt x="25981" y="18902"/>
                    <a:pt x="25726" y="18329"/>
                    <a:pt x="25386" y="18329"/>
                  </a:cubicBezTo>
                  <a:lnTo>
                    <a:pt x="24705" y="18329"/>
                  </a:lnTo>
                  <a:lnTo>
                    <a:pt x="24705" y="40668"/>
                  </a:lnTo>
                  <a:close/>
                  <a:moveTo>
                    <a:pt x="23196" y="97661"/>
                  </a:moveTo>
                  <a:lnTo>
                    <a:pt x="23196" y="2291"/>
                  </a:lnTo>
                  <a:lnTo>
                    <a:pt x="25705" y="2291"/>
                  </a:lnTo>
                  <a:cubicBezTo>
                    <a:pt x="26215" y="2291"/>
                    <a:pt x="26598" y="2863"/>
                    <a:pt x="26874" y="4009"/>
                  </a:cubicBezTo>
                  <a:cubicBezTo>
                    <a:pt x="27278" y="6014"/>
                    <a:pt x="27554" y="8878"/>
                    <a:pt x="27746" y="13174"/>
                  </a:cubicBezTo>
                  <a:cubicBezTo>
                    <a:pt x="27916" y="16897"/>
                    <a:pt x="28001" y="20906"/>
                    <a:pt x="28001" y="25489"/>
                  </a:cubicBezTo>
                  <a:cubicBezTo>
                    <a:pt x="28001" y="34940"/>
                    <a:pt x="27661" y="41527"/>
                    <a:pt x="26980" y="45823"/>
                  </a:cubicBezTo>
                  <a:cubicBezTo>
                    <a:pt x="27852" y="49832"/>
                    <a:pt x="28277" y="57565"/>
                    <a:pt x="28277" y="69594"/>
                  </a:cubicBezTo>
                  <a:cubicBezTo>
                    <a:pt x="28277" y="79904"/>
                    <a:pt x="28001" y="87637"/>
                    <a:pt x="27406" y="92792"/>
                  </a:cubicBezTo>
                  <a:cubicBezTo>
                    <a:pt x="27044" y="95942"/>
                    <a:pt x="26555" y="97661"/>
                    <a:pt x="25960" y="97661"/>
                  </a:cubicBezTo>
                  <a:lnTo>
                    <a:pt x="23196" y="97661"/>
                  </a:lnTo>
                  <a:close/>
                  <a:moveTo>
                    <a:pt x="29383" y="97661"/>
                  </a:moveTo>
                  <a:lnTo>
                    <a:pt x="29383" y="2291"/>
                  </a:lnTo>
                  <a:lnTo>
                    <a:pt x="33912" y="2291"/>
                  </a:lnTo>
                  <a:lnTo>
                    <a:pt x="33912" y="19761"/>
                  </a:lnTo>
                  <a:lnTo>
                    <a:pt x="30914" y="19761"/>
                  </a:lnTo>
                  <a:lnTo>
                    <a:pt x="30914" y="40095"/>
                  </a:lnTo>
                  <a:lnTo>
                    <a:pt x="33656" y="40095"/>
                  </a:lnTo>
                  <a:lnTo>
                    <a:pt x="33656" y="56706"/>
                  </a:lnTo>
                  <a:lnTo>
                    <a:pt x="30914" y="56706"/>
                  </a:lnTo>
                  <a:lnTo>
                    <a:pt x="30914" y="80190"/>
                  </a:lnTo>
                  <a:lnTo>
                    <a:pt x="33975" y="80190"/>
                  </a:lnTo>
                  <a:lnTo>
                    <a:pt x="33975" y="97661"/>
                  </a:lnTo>
                  <a:lnTo>
                    <a:pt x="29383" y="97661"/>
                  </a:lnTo>
                  <a:close/>
                  <a:moveTo>
                    <a:pt x="35187" y="97661"/>
                  </a:moveTo>
                  <a:lnTo>
                    <a:pt x="35187" y="2291"/>
                  </a:lnTo>
                  <a:lnTo>
                    <a:pt x="36718" y="2291"/>
                  </a:lnTo>
                  <a:lnTo>
                    <a:pt x="38929" y="63579"/>
                  </a:lnTo>
                  <a:lnTo>
                    <a:pt x="38929" y="2291"/>
                  </a:lnTo>
                  <a:lnTo>
                    <a:pt x="40396" y="2291"/>
                  </a:lnTo>
                  <a:lnTo>
                    <a:pt x="40396" y="97661"/>
                  </a:lnTo>
                  <a:lnTo>
                    <a:pt x="38866" y="97661"/>
                  </a:lnTo>
                  <a:lnTo>
                    <a:pt x="36633" y="36372"/>
                  </a:lnTo>
                  <a:lnTo>
                    <a:pt x="36633" y="97661"/>
                  </a:lnTo>
                  <a:lnTo>
                    <a:pt x="35187" y="97661"/>
                  </a:lnTo>
                  <a:close/>
                  <a:moveTo>
                    <a:pt x="43160" y="77040"/>
                  </a:moveTo>
                  <a:lnTo>
                    <a:pt x="43160" y="93078"/>
                  </a:lnTo>
                  <a:cubicBezTo>
                    <a:pt x="43160" y="99379"/>
                    <a:pt x="43097" y="104248"/>
                    <a:pt x="42969" y="107971"/>
                  </a:cubicBezTo>
                  <a:cubicBezTo>
                    <a:pt x="42863" y="111121"/>
                    <a:pt x="42650" y="113985"/>
                    <a:pt x="42352" y="116563"/>
                  </a:cubicBezTo>
                  <a:cubicBezTo>
                    <a:pt x="42140" y="118281"/>
                    <a:pt x="41885" y="119427"/>
                    <a:pt x="41608" y="120000"/>
                  </a:cubicBezTo>
                  <a:lnTo>
                    <a:pt x="41608" y="109976"/>
                  </a:lnTo>
                  <a:cubicBezTo>
                    <a:pt x="41821" y="109116"/>
                    <a:pt x="41991" y="107684"/>
                    <a:pt x="42097" y="105107"/>
                  </a:cubicBezTo>
                  <a:cubicBezTo>
                    <a:pt x="42204" y="103102"/>
                    <a:pt x="42267" y="100525"/>
                    <a:pt x="42267" y="97661"/>
                  </a:cubicBezTo>
                  <a:lnTo>
                    <a:pt x="41608" y="97661"/>
                  </a:lnTo>
                  <a:lnTo>
                    <a:pt x="41608" y="77040"/>
                  </a:lnTo>
                  <a:lnTo>
                    <a:pt x="43160" y="77040"/>
                  </a:lnTo>
                  <a:close/>
                  <a:moveTo>
                    <a:pt x="45776" y="2291"/>
                  </a:moveTo>
                  <a:lnTo>
                    <a:pt x="47306" y="2291"/>
                  </a:lnTo>
                  <a:lnTo>
                    <a:pt x="48157" y="67589"/>
                  </a:lnTo>
                  <a:lnTo>
                    <a:pt x="49071" y="2291"/>
                  </a:lnTo>
                  <a:lnTo>
                    <a:pt x="50517" y="2291"/>
                  </a:lnTo>
                  <a:lnTo>
                    <a:pt x="51410" y="67589"/>
                  </a:lnTo>
                  <a:lnTo>
                    <a:pt x="52282" y="2291"/>
                  </a:lnTo>
                  <a:lnTo>
                    <a:pt x="53791" y="2291"/>
                  </a:lnTo>
                  <a:lnTo>
                    <a:pt x="52197" y="97661"/>
                  </a:lnTo>
                  <a:lnTo>
                    <a:pt x="50666" y="97661"/>
                  </a:lnTo>
                  <a:lnTo>
                    <a:pt x="49773" y="32649"/>
                  </a:lnTo>
                  <a:lnTo>
                    <a:pt x="48901" y="97661"/>
                  </a:lnTo>
                  <a:lnTo>
                    <a:pt x="47370" y="97661"/>
                  </a:lnTo>
                  <a:lnTo>
                    <a:pt x="45776" y="2291"/>
                  </a:lnTo>
                  <a:close/>
                  <a:moveTo>
                    <a:pt x="56002" y="60715"/>
                  </a:moveTo>
                  <a:lnTo>
                    <a:pt x="57363" y="60715"/>
                  </a:lnTo>
                  <a:lnTo>
                    <a:pt x="56683" y="27780"/>
                  </a:lnTo>
                  <a:lnTo>
                    <a:pt x="56002" y="60715"/>
                  </a:lnTo>
                  <a:close/>
                  <a:moveTo>
                    <a:pt x="55917" y="2291"/>
                  </a:moveTo>
                  <a:lnTo>
                    <a:pt x="57469" y="2291"/>
                  </a:lnTo>
                  <a:lnTo>
                    <a:pt x="59702" y="97661"/>
                  </a:lnTo>
                  <a:lnTo>
                    <a:pt x="58128" y="97661"/>
                  </a:lnTo>
                  <a:lnTo>
                    <a:pt x="57682" y="76181"/>
                  </a:lnTo>
                  <a:lnTo>
                    <a:pt x="55662" y="76181"/>
                  </a:lnTo>
                  <a:lnTo>
                    <a:pt x="55216" y="97661"/>
                  </a:lnTo>
                  <a:lnTo>
                    <a:pt x="53664" y="97661"/>
                  </a:lnTo>
                  <a:lnTo>
                    <a:pt x="55917" y="2291"/>
                  </a:lnTo>
                  <a:close/>
                  <a:moveTo>
                    <a:pt x="60042" y="69594"/>
                  </a:moveTo>
                  <a:lnTo>
                    <a:pt x="61573" y="69594"/>
                  </a:lnTo>
                  <a:cubicBezTo>
                    <a:pt x="61615" y="73317"/>
                    <a:pt x="61679" y="76181"/>
                    <a:pt x="61764" y="77899"/>
                  </a:cubicBezTo>
                  <a:cubicBezTo>
                    <a:pt x="61934" y="81622"/>
                    <a:pt x="62189" y="83627"/>
                    <a:pt x="62530" y="83627"/>
                  </a:cubicBezTo>
                  <a:cubicBezTo>
                    <a:pt x="62849" y="83627"/>
                    <a:pt x="63082" y="82195"/>
                    <a:pt x="63231" y="79904"/>
                  </a:cubicBezTo>
                  <a:cubicBezTo>
                    <a:pt x="63380" y="77613"/>
                    <a:pt x="63465" y="75035"/>
                    <a:pt x="63465" y="71599"/>
                  </a:cubicBezTo>
                  <a:cubicBezTo>
                    <a:pt x="63465" y="68162"/>
                    <a:pt x="63338" y="65011"/>
                    <a:pt x="63104" y="62434"/>
                  </a:cubicBezTo>
                  <a:cubicBezTo>
                    <a:pt x="62997" y="61002"/>
                    <a:pt x="62849" y="60143"/>
                    <a:pt x="62678" y="58997"/>
                  </a:cubicBezTo>
                  <a:cubicBezTo>
                    <a:pt x="62636" y="58711"/>
                    <a:pt x="62466" y="57852"/>
                    <a:pt x="62168" y="56420"/>
                  </a:cubicBezTo>
                  <a:cubicBezTo>
                    <a:pt x="61594" y="53842"/>
                    <a:pt x="61169" y="50978"/>
                    <a:pt x="60914" y="48114"/>
                  </a:cubicBezTo>
                  <a:cubicBezTo>
                    <a:pt x="60382" y="42673"/>
                    <a:pt x="60127" y="35513"/>
                    <a:pt x="60127" y="26634"/>
                  </a:cubicBezTo>
                  <a:cubicBezTo>
                    <a:pt x="60127" y="18902"/>
                    <a:pt x="60318" y="12887"/>
                    <a:pt x="60680" y="8019"/>
                  </a:cubicBezTo>
                  <a:cubicBezTo>
                    <a:pt x="61063" y="2577"/>
                    <a:pt x="61637" y="0"/>
                    <a:pt x="62338" y="0"/>
                  </a:cubicBezTo>
                  <a:cubicBezTo>
                    <a:pt x="63231" y="0"/>
                    <a:pt x="63890" y="4009"/>
                    <a:pt x="64337" y="12315"/>
                  </a:cubicBezTo>
                  <a:cubicBezTo>
                    <a:pt x="64528" y="16038"/>
                    <a:pt x="64677" y="21193"/>
                    <a:pt x="64741" y="27207"/>
                  </a:cubicBezTo>
                  <a:lnTo>
                    <a:pt x="63253" y="27207"/>
                  </a:lnTo>
                  <a:cubicBezTo>
                    <a:pt x="63210" y="23770"/>
                    <a:pt x="63125" y="20906"/>
                    <a:pt x="62997" y="19188"/>
                  </a:cubicBezTo>
                  <a:cubicBezTo>
                    <a:pt x="62827" y="17183"/>
                    <a:pt x="62615" y="16324"/>
                    <a:pt x="62317" y="16324"/>
                  </a:cubicBezTo>
                  <a:cubicBezTo>
                    <a:pt x="62083" y="16324"/>
                    <a:pt x="61892" y="17183"/>
                    <a:pt x="61764" y="18615"/>
                  </a:cubicBezTo>
                  <a:cubicBezTo>
                    <a:pt x="61615" y="20334"/>
                    <a:pt x="61530" y="22911"/>
                    <a:pt x="61530" y="26062"/>
                  </a:cubicBezTo>
                  <a:cubicBezTo>
                    <a:pt x="61530" y="29498"/>
                    <a:pt x="61658" y="32362"/>
                    <a:pt x="61892" y="34653"/>
                  </a:cubicBezTo>
                  <a:cubicBezTo>
                    <a:pt x="62062" y="36372"/>
                    <a:pt x="62402" y="38377"/>
                    <a:pt x="62912" y="40668"/>
                  </a:cubicBezTo>
                  <a:cubicBezTo>
                    <a:pt x="63508" y="43245"/>
                    <a:pt x="63975" y="46109"/>
                    <a:pt x="64294" y="49832"/>
                  </a:cubicBezTo>
                  <a:cubicBezTo>
                    <a:pt x="64783" y="54701"/>
                    <a:pt x="65017" y="61575"/>
                    <a:pt x="65017" y="70453"/>
                  </a:cubicBezTo>
                  <a:cubicBezTo>
                    <a:pt x="65017" y="79045"/>
                    <a:pt x="64805" y="86205"/>
                    <a:pt x="64358" y="91360"/>
                  </a:cubicBezTo>
                  <a:cubicBezTo>
                    <a:pt x="63890" y="97088"/>
                    <a:pt x="63274" y="99952"/>
                    <a:pt x="62508" y="99952"/>
                  </a:cubicBezTo>
                  <a:cubicBezTo>
                    <a:pt x="61594" y="99952"/>
                    <a:pt x="60914" y="95369"/>
                    <a:pt x="60467" y="85918"/>
                  </a:cubicBezTo>
                  <a:cubicBezTo>
                    <a:pt x="60233" y="81336"/>
                    <a:pt x="60085" y="75894"/>
                    <a:pt x="60042" y="69594"/>
                  </a:cubicBezTo>
                  <a:close/>
                  <a:moveTo>
                    <a:pt x="70822" y="97661"/>
                  </a:moveTo>
                  <a:lnTo>
                    <a:pt x="69121" y="97661"/>
                  </a:lnTo>
                  <a:lnTo>
                    <a:pt x="67186" y="2291"/>
                  </a:lnTo>
                  <a:lnTo>
                    <a:pt x="68781" y="2291"/>
                  </a:lnTo>
                  <a:lnTo>
                    <a:pt x="70014" y="71026"/>
                  </a:lnTo>
                  <a:lnTo>
                    <a:pt x="71226" y="2291"/>
                  </a:lnTo>
                  <a:lnTo>
                    <a:pt x="72778" y="2291"/>
                  </a:lnTo>
                  <a:lnTo>
                    <a:pt x="70822" y="97661"/>
                  </a:lnTo>
                  <a:close/>
                  <a:moveTo>
                    <a:pt x="73543" y="97661"/>
                  </a:moveTo>
                  <a:lnTo>
                    <a:pt x="73543" y="2291"/>
                  </a:lnTo>
                  <a:lnTo>
                    <a:pt x="78072" y="2291"/>
                  </a:lnTo>
                  <a:lnTo>
                    <a:pt x="78072" y="19761"/>
                  </a:lnTo>
                  <a:lnTo>
                    <a:pt x="75053" y="19761"/>
                  </a:lnTo>
                  <a:lnTo>
                    <a:pt x="75053" y="40095"/>
                  </a:lnTo>
                  <a:lnTo>
                    <a:pt x="77795" y="40095"/>
                  </a:lnTo>
                  <a:lnTo>
                    <a:pt x="77795" y="56706"/>
                  </a:lnTo>
                  <a:lnTo>
                    <a:pt x="75053" y="56706"/>
                  </a:lnTo>
                  <a:lnTo>
                    <a:pt x="75053" y="80190"/>
                  </a:lnTo>
                  <a:lnTo>
                    <a:pt x="78136" y="80190"/>
                  </a:lnTo>
                  <a:lnTo>
                    <a:pt x="78136" y="97661"/>
                  </a:lnTo>
                  <a:lnTo>
                    <a:pt x="73543" y="97661"/>
                  </a:lnTo>
                  <a:close/>
                  <a:moveTo>
                    <a:pt x="80857" y="44677"/>
                  </a:moveTo>
                  <a:lnTo>
                    <a:pt x="81686" y="44677"/>
                  </a:lnTo>
                  <a:cubicBezTo>
                    <a:pt x="82154" y="44677"/>
                    <a:pt x="82473" y="43245"/>
                    <a:pt x="82643" y="40668"/>
                  </a:cubicBezTo>
                  <a:cubicBezTo>
                    <a:pt x="82792" y="38377"/>
                    <a:pt x="82856" y="35226"/>
                    <a:pt x="82856" y="31217"/>
                  </a:cubicBezTo>
                  <a:cubicBezTo>
                    <a:pt x="82856" y="26348"/>
                    <a:pt x="82749" y="22625"/>
                    <a:pt x="82494" y="20334"/>
                  </a:cubicBezTo>
                  <a:cubicBezTo>
                    <a:pt x="82345" y="19188"/>
                    <a:pt x="82090" y="18329"/>
                    <a:pt x="81729" y="18329"/>
                  </a:cubicBezTo>
                  <a:lnTo>
                    <a:pt x="80857" y="18329"/>
                  </a:lnTo>
                  <a:lnTo>
                    <a:pt x="80857" y="44677"/>
                  </a:lnTo>
                  <a:close/>
                  <a:moveTo>
                    <a:pt x="79347" y="97661"/>
                  </a:moveTo>
                  <a:lnTo>
                    <a:pt x="79347" y="2291"/>
                  </a:lnTo>
                  <a:lnTo>
                    <a:pt x="82069" y="2291"/>
                  </a:lnTo>
                  <a:cubicBezTo>
                    <a:pt x="82771" y="2291"/>
                    <a:pt x="83323" y="4295"/>
                    <a:pt x="83706" y="8591"/>
                  </a:cubicBezTo>
                  <a:cubicBezTo>
                    <a:pt x="84153" y="13174"/>
                    <a:pt x="84386" y="20047"/>
                    <a:pt x="84386" y="28926"/>
                  </a:cubicBezTo>
                  <a:cubicBezTo>
                    <a:pt x="84386" y="36085"/>
                    <a:pt x="84238" y="42100"/>
                    <a:pt x="83919" y="46968"/>
                  </a:cubicBezTo>
                  <a:cubicBezTo>
                    <a:pt x="83770" y="49260"/>
                    <a:pt x="83600" y="50978"/>
                    <a:pt x="83366" y="52410"/>
                  </a:cubicBezTo>
                  <a:cubicBezTo>
                    <a:pt x="83664" y="53556"/>
                    <a:pt x="83876" y="56133"/>
                    <a:pt x="84046" y="59856"/>
                  </a:cubicBezTo>
                  <a:cubicBezTo>
                    <a:pt x="84131" y="61861"/>
                    <a:pt x="84216" y="65298"/>
                    <a:pt x="84259" y="69594"/>
                  </a:cubicBezTo>
                  <a:cubicBezTo>
                    <a:pt x="84280" y="71312"/>
                    <a:pt x="84323" y="75894"/>
                    <a:pt x="84344" y="83914"/>
                  </a:cubicBezTo>
                  <a:cubicBezTo>
                    <a:pt x="84386" y="89069"/>
                    <a:pt x="84429" y="92219"/>
                    <a:pt x="84472" y="93937"/>
                  </a:cubicBezTo>
                  <a:cubicBezTo>
                    <a:pt x="84493" y="95083"/>
                    <a:pt x="84535" y="96229"/>
                    <a:pt x="84599" y="97661"/>
                  </a:cubicBezTo>
                  <a:lnTo>
                    <a:pt x="83026" y="97661"/>
                  </a:lnTo>
                  <a:cubicBezTo>
                    <a:pt x="82983" y="95942"/>
                    <a:pt x="82941" y="94224"/>
                    <a:pt x="82919" y="92219"/>
                  </a:cubicBezTo>
                  <a:cubicBezTo>
                    <a:pt x="82919" y="91073"/>
                    <a:pt x="82898" y="86778"/>
                    <a:pt x="82856" y="79904"/>
                  </a:cubicBezTo>
                  <a:cubicBezTo>
                    <a:pt x="82813" y="73317"/>
                    <a:pt x="82749" y="68735"/>
                    <a:pt x="82664" y="66730"/>
                  </a:cubicBezTo>
                  <a:cubicBezTo>
                    <a:pt x="82558" y="63579"/>
                    <a:pt x="82409" y="61575"/>
                    <a:pt x="82197" y="60715"/>
                  </a:cubicBezTo>
                  <a:cubicBezTo>
                    <a:pt x="82090" y="60429"/>
                    <a:pt x="81920" y="60143"/>
                    <a:pt x="81729" y="60143"/>
                  </a:cubicBezTo>
                  <a:lnTo>
                    <a:pt x="80857" y="60143"/>
                  </a:lnTo>
                  <a:lnTo>
                    <a:pt x="80857" y="97661"/>
                  </a:lnTo>
                  <a:lnTo>
                    <a:pt x="79347" y="97661"/>
                  </a:lnTo>
                  <a:close/>
                  <a:moveTo>
                    <a:pt x="87236" y="81336"/>
                  </a:moveTo>
                  <a:lnTo>
                    <a:pt x="88065" y="81336"/>
                  </a:lnTo>
                  <a:cubicBezTo>
                    <a:pt x="88490" y="81336"/>
                    <a:pt x="88788" y="80190"/>
                    <a:pt x="88958" y="78472"/>
                  </a:cubicBezTo>
                  <a:cubicBezTo>
                    <a:pt x="89192" y="75894"/>
                    <a:pt x="89298" y="72458"/>
                    <a:pt x="89298" y="68162"/>
                  </a:cubicBezTo>
                  <a:cubicBezTo>
                    <a:pt x="89298" y="62720"/>
                    <a:pt x="89149" y="58997"/>
                    <a:pt x="88851" y="56992"/>
                  </a:cubicBezTo>
                  <a:cubicBezTo>
                    <a:pt x="88681" y="55560"/>
                    <a:pt x="88405" y="54988"/>
                    <a:pt x="88001" y="54988"/>
                  </a:cubicBezTo>
                  <a:lnTo>
                    <a:pt x="87236" y="54988"/>
                  </a:lnTo>
                  <a:lnTo>
                    <a:pt x="87236" y="81336"/>
                  </a:lnTo>
                  <a:close/>
                  <a:moveTo>
                    <a:pt x="87236" y="40668"/>
                  </a:moveTo>
                  <a:lnTo>
                    <a:pt x="87916" y="40668"/>
                  </a:lnTo>
                  <a:cubicBezTo>
                    <a:pt x="88299" y="40668"/>
                    <a:pt x="88554" y="40095"/>
                    <a:pt x="88724" y="38377"/>
                  </a:cubicBezTo>
                  <a:cubicBezTo>
                    <a:pt x="88936" y="36372"/>
                    <a:pt x="89043" y="33221"/>
                    <a:pt x="89043" y="29212"/>
                  </a:cubicBezTo>
                  <a:cubicBezTo>
                    <a:pt x="89043" y="24916"/>
                    <a:pt x="88915" y="21766"/>
                    <a:pt x="88660" y="20047"/>
                  </a:cubicBezTo>
                  <a:cubicBezTo>
                    <a:pt x="88511" y="18902"/>
                    <a:pt x="88277" y="18329"/>
                    <a:pt x="87916" y="18329"/>
                  </a:cubicBezTo>
                  <a:lnTo>
                    <a:pt x="87236" y="18329"/>
                  </a:lnTo>
                  <a:lnTo>
                    <a:pt x="87236" y="40668"/>
                  </a:lnTo>
                  <a:close/>
                  <a:moveTo>
                    <a:pt x="85726" y="97661"/>
                  </a:moveTo>
                  <a:lnTo>
                    <a:pt x="85726" y="2291"/>
                  </a:lnTo>
                  <a:lnTo>
                    <a:pt x="88256" y="2291"/>
                  </a:lnTo>
                  <a:cubicBezTo>
                    <a:pt x="88745" y="2291"/>
                    <a:pt x="89149" y="2863"/>
                    <a:pt x="89404" y="4009"/>
                  </a:cubicBezTo>
                  <a:cubicBezTo>
                    <a:pt x="89808" y="6014"/>
                    <a:pt x="90106" y="8878"/>
                    <a:pt x="90297" y="13174"/>
                  </a:cubicBezTo>
                  <a:cubicBezTo>
                    <a:pt x="90467" y="16897"/>
                    <a:pt x="90552" y="20906"/>
                    <a:pt x="90552" y="25489"/>
                  </a:cubicBezTo>
                  <a:cubicBezTo>
                    <a:pt x="90552" y="34940"/>
                    <a:pt x="90212" y="41527"/>
                    <a:pt x="89532" y="45823"/>
                  </a:cubicBezTo>
                  <a:cubicBezTo>
                    <a:pt x="90382" y="49832"/>
                    <a:pt x="90829" y="57565"/>
                    <a:pt x="90829" y="69594"/>
                  </a:cubicBezTo>
                  <a:cubicBezTo>
                    <a:pt x="90829" y="79904"/>
                    <a:pt x="90531" y="87637"/>
                    <a:pt x="89957" y="92792"/>
                  </a:cubicBezTo>
                  <a:cubicBezTo>
                    <a:pt x="89596" y="95942"/>
                    <a:pt x="89107" y="97661"/>
                    <a:pt x="88490" y="97661"/>
                  </a:cubicBezTo>
                  <a:lnTo>
                    <a:pt x="85726" y="97661"/>
                  </a:lnTo>
                  <a:close/>
                  <a:moveTo>
                    <a:pt x="91913" y="97661"/>
                  </a:moveTo>
                  <a:lnTo>
                    <a:pt x="91913" y="2291"/>
                  </a:lnTo>
                  <a:lnTo>
                    <a:pt x="93444" y="2291"/>
                  </a:lnTo>
                  <a:lnTo>
                    <a:pt x="93444" y="97661"/>
                  </a:lnTo>
                  <a:lnTo>
                    <a:pt x="91913" y="97661"/>
                  </a:lnTo>
                  <a:close/>
                  <a:moveTo>
                    <a:pt x="94826" y="97661"/>
                  </a:moveTo>
                  <a:lnTo>
                    <a:pt x="94826" y="2291"/>
                  </a:lnTo>
                  <a:lnTo>
                    <a:pt x="96357" y="2291"/>
                  </a:lnTo>
                  <a:lnTo>
                    <a:pt x="98589" y="63579"/>
                  </a:lnTo>
                  <a:lnTo>
                    <a:pt x="98589" y="2291"/>
                  </a:lnTo>
                  <a:lnTo>
                    <a:pt x="100035" y="2291"/>
                  </a:lnTo>
                  <a:lnTo>
                    <a:pt x="100035" y="97661"/>
                  </a:lnTo>
                  <a:lnTo>
                    <a:pt x="98525" y="97661"/>
                  </a:lnTo>
                  <a:lnTo>
                    <a:pt x="96272" y="36372"/>
                  </a:lnTo>
                  <a:lnTo>
                    <a:pt x="96272" y="97661"/>
                  </a:lnTo>
                  <a:lnTo>
                    <a:pt x="94826" y="97661"/>
                  </a:lnTo>
                  <a:close/>
                  <a:moveTo>
                    <a:pt x="102948" y="80190"/>
                  </a:moveTo>
                  <a:lnTo>
                    <a:pt x="103628" y="80190"/>
                  </a:lnTo>
                  <a:cubicBezTo>
                    <a:pt x="104160" y="80190"/>
                    <a:pt x="104564" y="78472"/>
                    <a:pt x="104798" y="75035"/>
                  </a:cubicBezTo>
                  <a:cubicBezTo>
                    <a:pt x="105180" y="69594"/>
                    <a:pt x="105372" y="61002"/>
                    <a:pt x="105372" y="49546"/>
                  </a:cubicBezTo>
                  <a:cubicBezTo>
                    <a:pt x="105372" y="39809"/>
                    <a:pt x="105201" y="32362"/>
                    <a:pt x="104883" y="26921"/>
                  </a:cubicBezTo>
                  <a:cubicBezTo>
                    <a:pt x="104606" y="22052"/>
                    <a:pt x="104181" y="19761"/>
                    <a:pt x="103586" y="19761"/>
                  </a:cubicBezTo>
                  <a:lnTo>
                    <a:pt x="102948" y="19761"/>
                  </a:lnTo>
                  <a:lnTo>
                    <a:pt x="102948" y="80190"/>
                  </a:lnTo>
                  <a:close/>
                  <a:moveTo>
                    <a:pt x="101417" y="97661"/>
                  </a:moveTo>
                  <a:lnTo>
                    <a:pt x="101417" y="2291"/>
                  </a:lnTo>
                  <a:lnTo>
                    <a:pt x="103607" y="2291"/>
                  </a:lnTo>
                  <a:cubicBezTo>
                    <a:pt x="104564" y="2291"/>
                    <a:pt x="105329" y="5727"/>
                    <a:pt x="105882" y="12601"/>
                  </a:cubicBezTo>
                  <a:cubicBezTo>
                    <a:pt x="106541" y="20906"/>
                    <a:pt x="106881" y="33221"/>
                    <a:pt x="106881" y="49832"/>
                  </a:cubicBezTo>
                  <a:cubicBezTo>
                    <a:pt x="106881" y="65584"/>
                    <a:pt x="106562" y="77899"/>
                    <a:pt x="105924" y="86491"/>
                  </a:cubicBezTo>
                  <a:cubicBezTo>
                    <a:pt x="105584" y="91360"/>
                    <a:pt x="105180" y="94510"/>
                    <a:pt x="104734" y="95942"/>
                  </a:cubicBezTo>
                  <a:cubicBezTo>
                    <a:pt x="104415" y="97088"/>
                    <a:pt x="104032" y="97661"/>
                    <a:pt x="103607" y="97661"/>
                  </a:cubicBezTo>
                  <a:lnTo>
                    <a:pt x="101417" y="97661"/>
                  </a:lnTo>
                  <a:close/>
                  <a:moveTo>
                    <a:pt x="107965" y="97661"/>
                  </a:moveTo>
                  <a:lnTo>
                    <a:pt x="107965" y="2291"/>
                  </a:lnTo>
                  <a:lnTo>
                    <a:pt x="112494" y="2291"/>
                  </a:lnTo>
                  <a:lnTo>
                    <a:pt x="112494" y="19761"/>
                  </a:lnTo>
                  <a:lnTo>
                    <a:pt x="109496" y="19761"/>
                  </a:lnTo>
                  <a:lnTo>
                    <a:pt x="109496" y="40095"/>
                  </a:lnTo>
                  <a:lnTo>
                    <a:pt x="112218" y="40095"/>
                  </a:lnTo>
                  <a:lnTo>
                    <a:pt x="112218" y="56706"/>
                  </a:lnTo>
                  <a:lnTo>
                    <a:pt x="109496" y="56706"/>
                  </a:lnTo>
                  <a:lnTo>
                    <a:pt x="109496" y="80190"/>
                  </a:lnTo>
                  <a:lnTo>
                    <a:pt x="112558" y="80190"/>
                  </a:lnTo>
                  <a:lnTo>
                    <a:pt x="112558" y="97661"/>
                  </a:lnTo>
                  <a:lnTo>
                    <a:pt x="107965" y="97661"/>
                  </a:lnTo>
                  <a:close/>
                  <a:moveTo>
                    <a:pt x="115024" y="97661"/>
                  </a:moveTo>
                  <a:lnTo>
                    <a:pt x="115024" y="19761"/>
                  </a:lnTo>
                  <a:lnTo>
                    <a:pt x="113302" y="19761"/>
                  </a:lnTo>
                  <a:lnTo>
                    <a:pt x="113302" y="2291"/>
                  </a:lnTo>
                  <a:lnTo>
                    <a:pt x="118277" y="2291"/>
                  </a:lnTo>
                  <a:lnTo>
                    <a:pt x="118277" y="19761"/>
                  </a:lnTo>
                  <a:lnTo>
                    <a:pt x="116534" y="19761"/>
                  </a:lnTo>
                  <a:lnTo>
                    <a:pt x="116534" y="97661"/>
                  </a:lnTo>
                  <a:lnTo>
                    <a:pt x="115024" y="97661"/>
                  </a:lnTo>
                  <a:close/>
                  <a:moveTo>
                    <a:pt x="120000" y="77040"/>
                  </a:moveTo>
                  <a:lnTo>
                    <a:pt x="120000" y="97661"/>
                  </a:lnTo>
                  <a:lnTo>
                    <a:pt x="118447" y="97661"/>
                  </a:lnTo>
                  <a:lnTo>
                    <a:pt x="118447" y="77040"/>
                  </a:lnTo>
                  <a:lnTo>
                    <a:pt x="120000" y="7704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Noto Sans Symbols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Shape 10"/>
            <p:cNvSpPr/>
            <p:nvPr/>
          </p:nvSpPr>
          <p:spPr>
            <a:xfrm>
              <a:off x="321317" y="6153149"/>
              <a:ext cx="760793" cy="3714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3" y="55201"/>
                  </a:moveTo>
                  <a:lnTo>
                    <a:pt x="12039" y="55201"/>
                  </a:lnTo>
                  <a:lnTo>
                    <a:pt x="12039" y="79603"/>
                  </a:lnTo>
                  <a:lnTo>
                    <a:pt x="43" y="79603"/>
                  </a:lnTo>
                  <a:lnTo>
                    <a:pt x="43" y="55201"/>
                  </a:lnTo>
                  <a:close/>
                  <a:moveTo>
                    <a:pt x="28560" y="94318"/>
                  </a:moveTo>
                  <a:cubicBezTo>
                    <a:pt x="28560" y="102086"/>
                    <a:pt x="29132" y="107022"/>
                    <a:pt x="30230" y="109398"/>
                  </a:cubicBezTo>
                  <a:cubicBezTo>
                    <a:pt x="31197" y="111317"/>
                    <a:pt x="32779" y="112597"/>
                    <a:pt x="35020" y="113054"/>
                  </a:cubicBezTo>
                  <a:cubicBezTo>
                    <a:pt x="35723" y="113145"/>
                    <a:pt x="36821" y="113145"/>
                    <a:pt x="38447" y="113145"/>
                  </a:cubicBezTo>
                  <a:lnTo>
                    <a:pt x="38447" y="120000"/>
                  </a:lnTo>
                  <a:lnTo>
                    <a:pt x="9622" y="120000"/>
                  </a:lnTo>
                  <a:lnTo>
                    <a:pt x="9622" y="113145"/>
                  </a:lnTo>
                  <a:cubicBezTo>
                    <a:pt x="11907" y="113145"/>
                    <a:pt x="13621" y="112962"/>
                    <a:pt x="14719" y="112505"/>
                  </a:cubicBezTo>
                  <a:cubicBezTo>
                    <a:pt x="16960" y="111591"/>
                    <a:pt x="18366" y="108941"/>
                    <a:pt x="18938" y="104554"/>
                  </a:cubicBezTo>
                  <a:cubicBezTo>
                    <a:pt x="19245" y="102269"/>
                    <a:pt x="19421" y="98888"/>
                    <a:pt x="19421" y="94318"/>
                  </a:cubicBezTo>
                  <a:lnTo>
                    <a:pt x="19421" y="5757"/>
                  </a:lnTo>
                  <a:cubicBezTo>
                    <a:pt x="14500" y="6031"/>
                    <a:pt x="10677" y="9322"/>
                    <a:pt x="7909" y="15628"/>
                  </a:cubicBezTo>
                  <a:cubicBezTo>
                    <a:pt x="5316" y="21751"/>
                    <a:pt x="3690" y="30982"/>
                    <a:pt x="3119" y="43412"/>
                  </a:cubicBezTo>
                  <a:lnTo>
                    <a:pt x="0" y="42315"/>
                  </a:lnTo>
                  <a:lnTo>
                    <a:pt x="571" y="0"/>
                  </a:lnTo>
                  <a:lnTo>
                    <a:pt x="47499" y="0"/>
                  </a:lnTo>
                  <a:lnTo>
                    <a:pt x="48070" y="42315"/>
                  </a:lnTo>
                  <a:lnTo>
                    <a:pt x="44950" y="43412"/>
                  </a:lnTo>
                  <a:cubicBezTo>
                    <a:pt x="44379" y="30982"/>
                    <a:pt x="42753" y="21751"/>
                    <a:pt x="40117" y="15628"/>
                  </a:cubicBezTo>
                  <a:cubicBezTo>
                    <a:pt x="37348" y="9322"/>
                    <a:pt x="33482" y="6031"/>
                    <a:pt x="28560" y="5757"/>
                  </a:cubicBezTo>
                  <a:lnTo>
                    <a:pt x="28560" y="94318"/>
                  </a:lnTo>
                  <a:close/>
                  <a:moveTo>
                    <a:pt x="36206" y="55201"/>
                  </a:moveTo>
                  <a:lnTo>
                    <a:pt x="48158" y="55201"/>
                  </a:lnTo>
                  <a:lnTo>
                    <a:pt x="48158" y="79603"/>
                  </a:lnTo>
                  <a:lnTo>
                    <a:pt x="36206" y="79603"/>
                  </a:lnTo>
                  <a:lnTo>
                    <a:pt x="36206" y="55201"/>
                  </a:lnTo>
                  <a:close/>
                  <a:moveTo>
                    <a:pt x="72105" y="55201"/>
                  </a:moveTo>
                  <a:lnTo>
                    <a:pt x="84101" y="55201"/>
                  </a:lnTo>
                  <a:lnTo>
                    <a:pt x="84101" y="79603"/>
                  </a:lnTo>
                  <a:lnTo>
                    <a:pt x="72105" y="79603"/>
                  </a:lnTo>
                  <a:lnTo>
                    <a:pt x="72105" y="55201"/>
                  </a:lnTo>
                  <a:close/>
                  <a:moveTo>
                    <a:pt x="108048" y="55201"/>
                  </a:moveTo>
                  <a:lnTo>
                    <a:pt x="120000" y="55201"/>
                  </a:lnTo>
                  <a:lnTo>
                    <a:pt x="120000" y="79603"/>
                  </a:lnTo>
                  <a:lnTo>
                    <a:pt x="108048" y="79603"/>
                  </a:lnTo>
                  <a:lnTo>
                    <a:pt x="108048" y="5520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Noto Sans Symbols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8868511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6.10.17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73447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Shape 168"/>
          <p:cNvSpPr txBox="1">
            <a:spLocks noGrp="1"/>
          </p:cNvSpPr>
          <p:nvPr>
            <p:ph type="body" idx="1"/>
          </p:nvPr>
        </p:nvSpPr>
        <p:spPr>
          <a:xfrm>
            <a:off x="482600" y="5765800"/>
            <a:ext cx="6127750" cy="3743325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69" name="Shape 169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012825"/>
            <a:ext cx="6113462" cy="4586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864524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Shape 126"/>
          <p:cNvSpPr txBox="1">
            <a:spLocks noGrp="1"/>
          </p:cNvSpPr>
          <p:nvPr>
            <p:ph type="body" idx="1"/>
          </p:nvPr>
        </p:nvSpPr>
        <p:spPr>
          <a:xfrm>
            <a:off x="482600" y="5765800"/>
            <a:ext cx="6127750" cy="3743325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27" name="Shape 127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012825"/>
            <a:ext cx="6113462" cy="45862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056723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20,00€ WifiRouter</a:t>
            </a:r>
          </a:p>
          <a:p>
            <a:r>
              <a:rPr lang="de-DE" dirty="0" smtClean="0"/>
              <a:t>6,80€ Raspberry Zero</a:t>
            </a:r>
          </a:p>
          <a:p>
            <a:r>
              <a:rPr lang="de-DE" dirty="0" smtClean="0"/>
              <a:t>30,00€ Air Quality</a:t>
            </a:r>
          </a:p>
          <a:p>
            <a:r>
              <a:rPr lang="de-DE" dirty="0" smtClean="0"/>
              <a:t>3,80€ * 3 Arduino</a:t>
            </a:r>
          </a:p>
          <a:p>
            <a:r>
              <a:rPr lang="de-DE" dirty="0" smtClean="0"/>
              <a:t>3,80€ * 4 Funkmodul</a:t>
            </a:r>
          </a:p>
          <a:p>
            <a:r>
              <a:rPr lang="de-DE" dirty="0" smtClean="0"/>
              <a:t>2,10€ Temparatut/Luftfeuchtigkeit</a:t>
            </a:r>
          </a:p>
          <a:p>
            <a:r>
              <a:rPr lang="de-DE" dirty="0" smtClean="0"/>
              <a:t>1,60€ Bewegungsmelder</a:t>
            </a:r>
          </a:p>
          <a:p>
            <a:r>
              <a:rPr lang="de-DE" dirty="0" smtClean="0"/>
              <a:t>2,30€ Helligkeitssensor</a:t>
            </a:r>
          </a:p>
          <a:p>
            <a:r>
              <a:rPr lang="de-DE" dirty="0" smtClean="0"/>
              <a:t>6,00€ NodeMCU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F6A8607F-DCDB-41EA-B8E4-C6DE3890DF82}" type="datetime1">
              <a:rPr lang="de-DE" smtClean="0"/>
              <a:t>06.10.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61562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Was machen wir?</a:t>
            </a:r>
          </a:p>
          <a:p>
            <a:pPr marL="0" indent="0">
              <a:buNone/>
            </a:pPr>
            <a:endParaRPr lang="de-DE" dirty="0" smtClean="0"/>
          </a:p>
          <a:p>
            <a:pPr>
              <a:buFont typeface="Arial" charset="0"/>
              <a:buChar char="•"/>
            </a:pPr>
            <a:r>
              <a:rPr lang="de-DE" dirty="0" smtClean="0"/>
              <a:t>App-Konzeption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Zentraler Anlaufpunkt (Infos, Funktionalitäten,..)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Integration von HHZ-Projekten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Authentifizierung als Student/Professor</a:t>
            </a:r>
          </a:p>
          <a:p>
            <a:pPr lvl="1">
              <a:buFont typeface="Arial" charset="0"/>
              <a:buChar char="•"/>
            </a:pPr>
            <a:r>
              <a:rPr lang="de-DE" dirty="0" smtClean="0"/>
              <a:t>Umfrage: Was soll die App können?</a:t>
            </a:r>
          </a:p>
          <a:p>
            <a:pPr lvl="1">
              <a:buFont typeface="Arial" charset="0"/>
              <a:buChar char="•"/>
            </a:pPr>
            <a:endParaRPr lang="de-DE" dirty="0" smtClean="0"/>
          </a:p>
          <a:p>
            <a:pPr>
              <a:buFont typeface="Arial" charset="0"/>
              <a:buChar char="•"/>
            </a:pPr>
            <a:r>
              <a:rPr lang="de-DE" dirty="0" smtClean="0"/>
              <a:t>Auswahl des App-Frameworks?</a:t>
            </a:r>
          </a:p>
          <a:p>
            <a:pPr>
              <a:buFont typeface="Arial" charset="0"/>
              <a:buChar char="•"/>
            </a:pPr>
            <a:endParaRPr lang="de-DE" dirty="0" smtClean="0"/>
          </a:p>
          <a:p>
            <a:pPr>
              <a:buFont typeface="Arial" charset="0"/>
              <a:buChar char="•"/>
            </a:pPr>
            <a:r>
              <a:rPr lang="de-DE" dirty="0" smtClean="0"/>
              <a:t>Programmierung der App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D8F93F7F-962B-4F21-9AE5-E20B46B04728}" type="datetimeFigureOut">
              <a:rPr lang="de-DE" smtClean="0"/>
              <a:pPr/>
              <a:t>06.10.17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31267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charset="0"/>
              <a:buChar char="•"/>
            </a:pPr>
            <a:r>
              <a:rPr lang="de-DE" dirty="0" smtClean="0"/>
              <a:t>Home-Connect-Schnittstelle (Smart Home Geräte aus dem Innovationsraum anbinden)</a:t>
            </a:r>
          </a:p>
          <a:p>
            <a:pPr>
              <a:buFont typeface="Arial" charset="0"/>
              <a:buChar char="•"/>
            </a:pPr>
            <a:r>
              <a:rPr lang="de-DE" dirty="0" smtClean="0"/>
              <a:t>Smart Contracts </a:t>
            </a:r>
          </a:p>
          <a:p>
            <a:pPr>
              <a:buFont typeface="Arial" charset="0"/>
              <a:buChar char="•"/>
            </a:pPr>
            <a:endParaRPr lang="de-DE" dirty="0" smtClean="0"/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Are solved automatically and do not need human intervention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Also the contract maintenance is automated in the system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For implementation a blockchain is used and acts like a decentralized database in the system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he blockchain is considered as tamper-proof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D8F93F7F-962B-4F21-9AE5-E20B46B04728}" type="datetimeFigureOut">
              <a:rPr lang="de-DE" smtClean="0"/>
              <a:pPr/>
              <a:t>06.10.17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966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sldNum" idx="12"/>
          </p:nvPr>
        </p:nvSpPr>
        <p:spPr>
          <a:xfrm>
            <a:off x="3859200" y="6440412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2" name="Shape 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811200" y="6403560"/>
            <a:ext cx="1701168" cy="45422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Shape 23" descr="PPT_Silhouet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6044096"/>
            <a:ext cx="9060437" cy="35924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Titel und vertikaler Tex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8" name="Shape 78"/>
          <p:cNvSpPr txBox="1">
            <a:spLocks noGrp="1"/>
          </p:cNvSpPr>
          <p:nvPr>
            <p:ph type="body" idx="1"/>
          </p:nvPr>
        </p:nvSpPr>
        <p:spPr>
          <a:xfrm rot="5400000">
            <a:off x="2396331" y="57944"/>
            <a:ext cx="4351338" cy="7886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Shape 79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0" name="Shape 80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1" name="Shape 81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Vertikaler Titel und Text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 txBox="1">
            <a:spLocks noGrp="1"/>
          </p:cNvSpPr>
          <p:nvPr>
            <p:ph type="title"/>
          </p:nvPr>
        </p:nvSpPr>
        <p:spPr>
          <a:xfrm rot="5400000">
            <a:off x="4623593" y="2285206"/>
            <a:ext cx="5811838" cy="197167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84" name="Shape 84"/>
          <p:cNvSpPr txBox="1">
            <a:spLocks noGrp="1"/>
          </p:cNvSpPr>
          <p:nvPr>
            <p:ph type="body" idx="1"/>
          </p:nvPr>
        </p:nvSpPr>
        <p:spPr>
          <a:xfrm rot="5400000">
            <a:off x="623093" y="370681"/>
            <a:ext cx="5811838" cy="58007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" name="Shape 8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Shape 87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Zwei Inhalte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hape 91"/>
          <p:cNvSpPr txBox="1"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92" name="Shape 92"/>
          <p:cNvSpPr txBox="1">
            <a:spLocks noGrp="1"/>
          </p:cNvSpPr>
          <p:nvPr>
            <p:ph type="body" idx="1"/>
          </p:nvPr>
        </p:nvSpPr>
        <p:spPr>
          <a:xfrm>
            <a:off x="304799" y="1773238"/>
            <a:ext cx="27360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3" name="Shape 93"/>
          <p:cNvSpPr txBox="1">
            <a:spLocks noGrp="1"/>
          </p:cNvSpPr>
          <p:nvPr>
            <p:ph type="body" idx="2"/>
          </p:nvPr>
        </p:nvSpPr>
        <p:spPr>
          <a:xfrm>
            <a:off x="6076010" y="1773238"/>
            <a:ext cx="27360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" name="Shape 94"/>
          <p:cNvSpPr txBox="1">
            <a:spLocks noGrp="1"/>
          </p:cNvSpPr>
          <p:nvPr>
            <p:ph type="dt" idx="10"/>
          </p:nvPr>
        </p:nvSpPr>
        <p:spPr>
          <a:xfrm>
            <a:off x="6804025" y="6432550"/>
            <a:ext cx="18002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5" name="Shape 95"/>
          <p:cNvSpPr txBox="1">
            <a:spLocks noGrp="1"/>
          </p:cNvSpPr>
          <p:nvPr>
            <p:ph type="ftr" idx="11"/>
          </p:nvPr>
        </p:nvSpPr>
        <p:spPr>
          <a:xfrm>
            <a:off x="2557463" y="6432550"/>
            <a:ext cx="4102100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" name="Shape 96"/>
          <p:cNvSpPr txBox="1">
            <a:spLocks noGrp="1"/>
          </p:cNvSpPr>
          <p:nvPr>
            <p:ph type="sldNum" idx="12"/>
          </p:nvPr>
        </p:nvSpPr>
        <p:spPr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" name="Shape 97"/>
          <p:cNvSpPr txBox="1">
            <a:spLocks noGrp="1"/>
          </p:cNvSpPr>
          <p:nvPr>
            <p:ph type="body" idx="3"/>
          </p:nvPr>
        </p:nvSpPr>
        <p:spPr>
          <a:xfrm>
            <a:off x="3190404" y="1773238"/>
            <a:ext cx="27360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Zwei Inhalte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Shape 99"/>
          <p:cNvSpPr txBox="1"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00" name="Shape 100"/>
          <p:cNvSpPr txBox="1">
            <a:spLocks noGrp="1"/>
          </p:cNvSpPr>
          <p:nvPr>
            <p:ph type="body" idx="1"/>
          </p:nvPr>
        </p:nvSpPr>
        <p:spPr>
          <a:xfrm>
            <a:off x="304799" y="1773238"/>
            <a:ext cx="2028826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1" name="Shape 101"/>
          <p:cNvSpPr txBox="1">
            <a:spLocks noGrp="1"/>
          </p:cNvSpPr>
          <p:nvPr>
            <p:ph type="body" idx="2"/>
          </p:nvPr>
        </p:nvSpPr>
        <p:spPr>
          <a:xfrm>
            <a:off x="4627575" y="1773238"/>
            <a:ext cx="20304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2" name="Shape 102"/>
          <p:cNvSpPr txBox="1">
            <a:spLocks noGrp="1"/>
          </p:cNvSpPr>
          <p:nvPr>
            <p:ph type="dt" idx="10"/>
          </p:nvPr>
        </p:nvSpPr>
        <p:spPr>
          <a:xfrm>
            <a:off x="6804025" y="6432550"/>
            <a:ext cx="18002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" name="Shape 103"/>
          <p:cNvSpPr txBox="1">
            <a:spLocks noGrp="1"/>
          </p:cNvSpPr>
          <p:nvPr>
            <p:ph type="ftr" idx="11"/>
          </p:nvPr>
        </p:nvSpPr>
        <p:spPr>
          <a:xfrm>
            <a:off x="2557463" y="6432550"/>
            <a:ext cx="4102100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" name="Shape 104"/>
          <p:cNvSpPr txBox="1">
            <a:spLocks noGrp="1"/>
          </p:cNvSpPr>
          <p:nvPr>
            <p:ph type="sldNum" idx="12"/>
          </p:nvPr>
        </p:nvSpPr>
        <p:spPr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Shape 105"/>
          <p:cNvSpPr txBox="1">
            <a:spLocks noGrp="1"/>
          </p:cNvSpPr>
          <p:nvPr>
            <p:ph type="body" idx="3"/>
          </p:nvPr>
        </p:nvSpPr>
        <p:spPr>
          <a:xfrm>
            <a:off x="2465400" y="1773238"/>
            <a:ext cx="20304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6" name="Shape 106"/>
          <p:cNvSpPr txBox="1">
            <a:spLocks noGrp="1"/>
          </p:cNvSpPr>
          <p:nvPr>
            <p:ph type="body" idx="4"/>
          </p:nvPr>
        </p:nvSpPr>
        <p:spPr>
          <a:xfrm>
            <a:off x="6789750" y="1773238"/>
            <a:ext cx="2030400" cy="42846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571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Navigationsleiste_Trennfolie_Grau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/>
          <p:nvPr/>
        </p:nvSpPr>
        <p:spPr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Shape 109"/>
          <p:cNvSpPr txBox="1">
            <a:spLocks noGrp="1"/>
          </p:cNvSpPr>
          <p:nvPr>
            <p:ph type="ctrTitle"/>
          </p:nvPr>
        </p:nvSpPr>
        <p:spPr>
          <a:xfrm>
            <a:off x="304800" y="1773238"/>
            <a:ext cx="8496300" cy="16557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lt1"/>
              </a:buClr>
              <a:buFont typeface="Franklin Gothic"/>
              <a:buNone/>
              <a:defRPr sz="60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10" name="Shape 110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45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ctr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ctr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3916800" y="6360225"/>
            <a:ext cx="215775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>
            <a:lvl1pPr algn="ctr">
              <a:defRPr/>
            </a:lvl1pPr>
          </a:lstStyle>
          <a:p>
            <a:pPr>
              <a:lnSpc>
                <a:spcPct val="163636"/>
              </a:lnSpc>
              <a:buSzPct val="25000"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</a:rPr>
              <a:pPr>
                <a:lnSpc>
                  <a:spcPct val="163636"/>
                </a:lnSpc>
                <a:buSzPct val="25000"/>
              </a:pPr>
              <a:t>‹#›</a:t>
            </a:fld>
            <a:endParaRPr lang="de-DE" sz="1100" dirty="0">
              <a:solidFill>
                <a:srgbClr val="888888"/>
              </a:solidFill>
            </a:endParaRPr>
          </a:p>
        </p:txBody>
      </p:sp>
      <p:pic>
        <p:nvPicPr>
          <p:cNvPr id="28" name="Shape 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60673" y="6298469"/>
            <a:ext cx="1800171" cy="4806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Shape 29" descr="PPT_Silhouet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6000761"/>
            <a:ext cx="9060437" cy="35924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Shape 30" descr="PPT_Logo_INF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748478" y="328591"/>
            <a:ext cx="1720232" cy="5386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bschnitts- überschrift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 txBox="1"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45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3" name="Shape 33"/>
          <p:cNvSpPr txBox="1"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rgbClr val="888888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rgbClr val="888888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body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accent4"/>
              </a:buClr>
              <a:buSzPct val="100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Shape 41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2" name="Shape 42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body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Shape 48"/>
          <p:cNvSpPr txBox="1">
            <a:spLocks noGrp="1"/>
          </p:cNvSpPr>
          <p:nvPr>
            <p:ph type="body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" name="Shape 49"/>
          <p:cNvSpPr txBox="1">
            <a:spLocks noGrp="1"/>
          </p:cNvSpPr>
          <p:nvPr>
            <p:ph type="body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Shape 54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6" name="Shape 5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" name="Shape 57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Inhalt mit Überschrif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190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381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571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7620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body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Shape 66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7" name="Shape 67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8" name="Shape 68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Bild mit Überschrif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hape 70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1" name="Shape 71"/>
          <p:cNvSpPr>
            <a:spLocks noGrp="1"/>
          </p:cNvSpPr>
          <p:nvPr>
            <p:ph type="pic" idx="2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Shape 72"/>
          <p:cNvSpPr txBox="1">
            <a:spLocks noGrp="1"/>
          </p:cNvSpPr>
          <p:nvPr>
            <p:ph type="body" idx="1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Shape 73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4" name="Shape 74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5" name="Shape 75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de-DE" sz="1100" b="0" i="0" u="none" strike="noStrike" cap="none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Font typeface="Franklin Gothic"/>
              <a:buNone/>
              <a:defRPr sz="2400" b="0" i="0" u="none" strike="noStrike" cap="none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171450" marR="0" lvl="0" indent="-44450" algn="l" rtl="0">
              <a:lnSpc>
                <a:spcPct val="90000"/>
              </a:lnSpc>
              <a:spcBef>
                <a:spcPts val="75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514350" marR="0" lvl="1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857250" marR="0" lvl="2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200150" marR="0" lvl="3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1543050" marR="0" lvl="4" indent="-44450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1885950" marR="0" lvl="5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228850" marR="0" lvl="6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571750" marR="0" lvl="7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914650" marR="0" lvl="8" indent="-85725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96428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sldNum" idx="12"/>
          </p:nvPr>
        </p:nvSpPr>
        <p:spPr>
          <a:xfrm>
            <a:off x="3543300" y="6413055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>
              <a:lnSpc>
                <a:spcPct val="163636"/>
              </a:lnSpc>
              <a:buSzPct val="25000"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</a:rPr>
              <a:pPr algn="ctr">
                <a:lnSpc>
                  <a:spcPct val="163636"/>
                </a:lnSpc>
                <a:buSzPct val="25000"/>
              </a:pPr>
              <a:t>‹#›</a:t>
            </a:fld>
            <a:endParaRPr lang="de-DE" sz="1100" dirty="0">
              <a:solidFill>
                <a:srgbClr val="888888"/>
              </a:solidFill>
            </a:endParaRPr>
          </a:p>
        </p:txBody>
      </p:sp>
      <p:pic>
        <p:nvPicPr>
          <p:cNvPr id="17" name="Shape 17"/>
          <p:cNvPicPr preferRelativeResize="0"/>
          <p:nvPr/>
        </p:nvPicPr>
        <p:blipFill rotWithShape="1">
          <a:blip r:embed="rId16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643" y="6413055"/>
            <a:ext cx="2383433" cy="393883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60" r:id="rId12"/>
    <p:sldLayoutId id="2147483661" r:id="rId13"/>
    <p:sldLayoutId id="2147483662" r:id="rId14"/>
  </p:sldLayoutIdLst>
  <p:timing>
    <p:tnLst>
      <p:par>
        <p:cTn id="1" dur="indefinite" restart="never" nodeType="tmRoot"/>
      </p:par>
    </p:tnLst>
  </p:timing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7" Type="http://schemas.openxmlformats.org/officeDocument/2006/relationships/hyperlink" Target="https://github.com/Bariumm/HHZ_IoT" TargetMode="Externa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4" Type="http://schemas.openxmlformats.org/officeDocument/2006/relationships/image" Target="../media/image16.jpeg"/><Relationship Id="rId5" Type="http://schemas.openxmlformats.org/officeDocument/2006/relationships/image" Target="../media/image17.jpe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8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9.tif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0.tif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1.tif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2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4" Type="http://schemas.openxmlformats.org/officeDocument/2006/relationships/image" Target="../media/image25.png"/><Relationship Id="rId5" Type="http://schemas.openxmlformats.org/officeDocument/2006/relationships/image" Target="../media/image26.png"/><Relationship Id="rId6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8.jpeg"/><Relationship Id="rId3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0.tif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4" Type="http://schemas.openxmlformats.org/officeDocument/2006/relationships/image" Target="../media/image35.png"/><Relationship Id="rId5" Type="http://schemas.openxmlformats.org/officeDocument/2006/relationships/image" Target="../media/image36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3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7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tiff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4384" name="Object 4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2112892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smtClean="0">
                <a:solidFill>
                  <a:schemeClr val="tx1"/>
                </a:solidFill>
              </a:rPr>
              <a:t>Digital HHZ</a:t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smtClean="0">
                <a:solidFill>
                  <a:schemeClr val="tx1"/>
                </a:solidFill>
              </a:rPr>
              <a:t/>
            </a:r>
            <a:br>
              <a:rPr lang="de-DE" sz="3200" dirty="0" smtClean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Abderraouf Gharbi, Julia Hain, Valeria Kinitzki, Peter Kühfuß, Manh Phi Nguyen, Natascha Sigle</a:t>
            </a:r>
            <a:br>
              <a:rPr lang="de-DE" sz="2000" dirty="0" smtClean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GitHub Repository: </a:t>
            </a:r>
            <a:r>
              <a:rPr lang="de-DE" sz="2000" dirty="0" smtClean="0">
                <a:solidFill>
                  <a:schemeClr val="tx1"/>
                </a:solidFill>
                <a:hlinkClick r:id="rId7"/>
              </a:rPr>
              <a:t>https://github.com/Bariumm/HHZ_IoT</a:t>
            </a:r>
            <a:endParaRPr sz="20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47500" lnSpcReduction="20000"/>
          </a:bodyPr>
          <a:lstStyle/>
          <a:p>
            <a:pPr algn="l"/>
            <a:r>
              <a:rPr lang="de-DE" dirty="0" smtClean="0">
                <a:latin typeface="Franklin Gothic Book" charset="0"/>
                <a:ea typeface="Franklin Gothic Book" charset="0"/>
                <a:cs typeface="Franklin Gothic Book" charset="0"/>
              </a:rPr>
              <a:t>Modul Projekt 1, Prof. Decker, 06.10.2017</a:t>
            </a:r>
            <a:endParaRPr lang="de-DE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2215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Sensors</a:t>
            </a:r>
            <a:endParaRPr lang="de-DE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0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2705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emperature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DHT 11</a:t>
            </a: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Humidity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DHT 11</a:t>
            </a: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Light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BH 1750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M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otion </a:t>
            </a:r>
            <a:r>
              <a:rPr lang="mr-IN" sz="1800" dirty="0">
                <a:latin typeface="Franklin Gothic Book" charset="0"/>
                <a:ea typeface="Franklin Gothic Book" charset="0"/>
                <a:cs typeface="Franklin Gothic Book" charset="0"/>
              </a:rPr>
              <a:t>HC-SR501</a:t>
            </a: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Air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quality REHAU air quality sensor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</a:t>
            </a: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://images-na.ssl-images-amazon.com/images/I/61Ru8GOWVSL._SL1100_.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jp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images-na.ssl-images-amazon.com/images/I/51ImjMAM0RL._SL1024_.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jp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images-na.ssl-images-amazon.com/images/I/618%2BQ00JWPL._SL1500_.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jpg </a:t>
            </a:r>
          </a:p>
          <a:p>
            <a:pPr marL="0" indent="0">
              <a:buNone/>
            </a:pP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images-na.ssl-images-amazon.com/images/I/71ydhfTurjL._SL1170_.jpg</a:t>
            </a: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9200" y="762076"/>
            <a:ext cx="1600200" cy="1600200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7480" y="1170290"/>
            <a:ext cx="2107870" cy="2107870"/>
          </a:xfrm>
          <a:prstGeom prst="rect">
            <a:avLst/>
          </a:prstGeom>
        </p:spPr>
      </p:pic>
      <p:pic>
        <p:nvPicPr>
          <p:cNvPr id="7" name="Bild 6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87900" y="2067566"/>
            <a:ext cx="1514104" cy="1250655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6204" y="2979792"/>
            <a:ext cx="1629146" cy="1629146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1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658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dditional Hardwa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indent="-180000">
              <a:lnSpc>
                <a:spcPct val="100000"/>
              </a:lnSpc>
            </a:pP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A</a:t>
            </a: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rduino </a:t>
            </a: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nano</a:t>
            </a:r>
          </a:p>
          <a:p>
            <a:pPr indent="-180000">
              <a:lnSpc>
                <a:spcPct val="100000"/>
              </a:lnSpc>
            </a:pP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Radio </a:t>
            </a: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module</a:t>
            </a:r>
          </a:p>
          <a:p>
            <a:pPr indent="-180000">
              <a:lnSpc>
                <a:spcPct val="100000"/>
              </a:lnSpc>
            </a:pP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NodeMCU</a:t>
            </a:r>
            <a:endParaRPr lang="de-DE" sz="19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100000"/>
              </a:lnSpc>
            </a:pP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R</a:t>
            </a:r>
            <a:r>
              <a:rPr lang="de-DE" sz="1900" dirty="0" smtClean="0">
                <a:latin typeface="Franklin Gothic Book" charset="0"/>
                <a:ea typeface="Franklin Gothic Book" charset="0"/>
                <a:cs typeface="Franklin Gothic Book" charset="0"/>
              </a:rPr>
              <a:t>aspberry </a:t>
            </a:r>
            <a:r>
              <a:rPr lang="de-DE" sz="1900" dirty="0">
                <a:latin typeface="Franklin Gothic Book" charset="0"/>
                <a:ea typeface="Franklin Gothic Book" charset="0"/>
                <a:cs typeface="Franklin Gothic Book" charset="0"/>
              </a:rPr>
              <a:t>Pi 3</a:t>
            </a:r>
          </a:p>
          <a:p>
            <a:pPr>
              <a:buFont typeface="Arial" charset="0"/>
              <a:buChar char="•"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</a:t>
            </a: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://images-na.ssl-images-amazon.com/images/I/81o-NG5RNeL._SL1500_.jpg</a:t>
            </a: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096" y="1954138"/>
            <a:ext cx="3808756" cy="2381742"/>
          </a:xfrm>
          <a:prstGeom prst="rect">
            <a:avLst/>
          </a:prstGeom>
        </p:spPr>
      </p:pic>
      <p:sp>
        <p:nvSpPr>
          <p:cNvPr id="6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2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274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 Pla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EG 120: motion, humidity,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emperature,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light, air quality</a:t>
            </a:r>
          </a:p>
          <a:p>
            <a:pPr indent="-180000">
              <a:lnSpc>
                <a:spcPct val="80000"/>
              </a:lnSpc>
            </a:pP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EG 125: motion, humidity,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emperature, 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light, air quality</a:t>
            </a:r>
          </a:p>
          <a:p>
            <a:pPr indent="-180000">
              <a:lnSpc>
                <a:spcPct val="80000"/>
              </a:lnSpc>
            </a:pP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EG 126: air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quality</a:t>
            </a:r>
            <a:endParaRPr lang="de-DE" dirty="0" smtClean="0"/>
          </a:p>
          <a:p>
            <a:pPr>
              <a:buFont typeface="Arial" charset="0"/>
              <a:buChar char="•"/>
            </a:pPr>
            <a:endParaRPr lang="de-DE" dirty="0"/>
          </a:p>
          <a:p>
            <a:pPr>
              <a:buFont typeface="Arial" charset="0"/>
              <a:buChar char="•"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63636"/>
                </a:lnSpc>
                <a:spcBef>
                  <a:spcPts val="0"/>
                </a:spcBef>
                <a:spcAft>
                  <a:spcPts val="0"/>
                </a:spcAft>
                <a:buSzPct val="25000"/>
                <a:buNone/>
              </a:pPr>
              <a:t>13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8754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 Cases 3D Prints </a:t>
            </a:r>
            <a:r>
              <a:rPr lang="mr-IN" dirty="0" smtClean="0"/>
              <a:t>–</a:t>
            </a:r>
            <a:r>
              <a:rPr lang="de-DE" dirty="0" smtClean="0"/>
              <a:t> Humidity Sensor</a:t>
            </a:r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459" y="1238865"/>
            <a:ext cx="7432513" cy="48768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4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12818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 Cases 3D Prints </a:t>
            </a:r>
            <a:r>
              <a:rPr lang="mr-IN" dirty="0" smtClean="0"/>
              <a:t>–</a:t>
            </a:r>
            <a:r>
              <a:rPr lang="de-DE" dirty="0" smtClean="0"/>
              <a:t> Motion Sensor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613" y="1322826"/>
            <a:ext cx="7761631" cy="471418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3472973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nsors Infrastructure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757" y="1564536"/>
            <a:ext cx="7508485" cy="4313749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6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2603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st Structu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Backend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One time cost for backend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Server to run the necessary applications</a:t>
            </a:r>
          </a:p>
          <a:p>
            <a:pPr indent="-180000">
              <a:lnSpc>
                <a:spcPct val="80000"/>
              </a:lnSpc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Room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Each room has the same sensors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Total cost of 76,40€ per room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7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863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Overview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8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8534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frastructure</a:t>
            </a:r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1552" y="1387245"/>
            <a:ext cx="6611913" cy="471479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19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4394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Business Model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Project Management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Sensors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Overview</a:t>
            </a:r>
          </a:p>
          <a:p>
            <a:pPr indent="-180000"/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Hackathon</a:t>
            </a:r>
          </a:p>
          <a:p>
            <a:pPr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Outlook</a:t>
            </a:r>
            <a:endParaRPr lang="de-DE" dirty="0"/>
          </a:p>
          <a:p>
            <a:pPr marL="127000" indent="0">
              <a:buNone/>
            </a:pPr>
            <a:endParaRPr lang="de-D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2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06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chnologi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Home Assistant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MQTT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MySensors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Docker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Telegram</a:t>
            </a:r>
          </a:p>
          <a:p>
            <a:pPr indent="-180000">
              <a:lnSpc>
                <a:spcPct val="80000"/>
              </a:lnSpc>
            </a:pP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SQLite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ome-assistant.io/images/components/alexa/alexa-512x512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3u6cmn2fbv4r1slybd2uhm1e.wpengine.netdna-cdn.com/wp-content/uploads/2015/07/mqtt-logo-whitebg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upload.wikimedia.org/wikipedia/commons/thumb/4/42/MySensorsLogo.svg/1200px-MySensorsLogo.svg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</a:t>
            </a:r>
            <a:r>
              <a:rPr lang="de-DE" sz="900" dirty="0" smtClean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telegram.org/img/t_logo.png</a:t>
            </a:r>
          </a:p>
          <a:p>
            <a:pPr marL="0" indent="0">
              <a:buNone/>
            </a:pPr>
            <a:r>
              <a:rPr lang="de-DE" sz="900" dirty="0">
                <a:solidFill>
                  <a:schemeClr val="bg1">
                    <a:lumMod val="6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https://upload.wikimedia.org/wikipedia/commons/thumb/3/38/SQLite370.svg/1200px-SQLite370.svg.png</a:t>
            </a:r>
            <a:endParaRPr lang="de-DE" sz="900" dirty="0" smtClean="0">
              <a:solidFill>
                <a:schemeClr val="bg1">
                  <a:lumMod val="6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pic>
        <p:nvPicPr>
          <p:cNvPr id="299012" name="Picture 4" descr="Bildergebnis für homeassistant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82179" y="888495"/>
            <a:ext cx="988559" cy="98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4" name="Picture 6" descr="http://3u6cmn2fbv4r1slybd2uhm1e.wpengine.netdna-cdn.com/wp-content/uploads/2015/07/mqtt-logo-whiteb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18407" y="1690689"/>
            <a:ext cx="1936478" cy="968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6" name="Picture 8" descr="Bildergebnis für mysensors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80031" y="2214058"/>
            <a:ext cx="2183937" cy="760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18" name="Picture 10" descr="Bildergebnis für Telegra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7046" y="2770782"/>
            <a:ext cx="1304927" cy="1304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020" name="Picture 12" descr="Bildergebnis für sqlite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7215" y="3363229"/>
            <a:ext cx="2086750" cy="989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0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4027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Hackatho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1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4652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ckathon Project Integr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>
                <a:latin typeface="Franklin Gothic Book" charset="0"/>
                <a:ea typeface="Franklin Gothic Book" charset="0"/>
                <a:cs typeface="Franklin Gothic Book" charset="0"/>
              </a:rPr>
              <a:t>Two projects originating in this year‘s IoT Hackathon are being merged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1" dirty="0" smtClean="0"/>
              <a:t>	</a:t>
            </a:r>
            <a:r>
              <a:rPr lang="en-US" b="1" dirty="0" smtClean="0">
                <a:latin typeface="Franklin Gothic Book" charset="0"/>
                <a:ea typeface="Franklin Gothic Book" charset="0"/>
                <a:cs typeface="Franklin Gothic Book" charset="0"/>
              </a:rPr>
              <a:t>StayFocussed</a:t>
            </a:r>
            <a:r>
              <a:rPr lang="en-US" b="1" dirty="0" smtClean="0"/>
              <a:t>				</a:t>
            </a:r>
            <a:r>
              <a:rPr lang="en-US" b="1" dirty="0" smtClean="0">
                <a:latin typeface="Franklin Gothic Book" charset="0"/>
                <a:ea typeface="Franklin Gothic Book" charset="0"/>
                <a:cs typeface="Franklin Gothic Book" charset="0"/>
              </a:rPr>
              <a:t>FarbenFROH</a:t>
            </a:r>
            <a:endParaRPr lang="en-US" sz="900" dirty="0" smtClean="0">
              <a:solidFill>
                <a:schemeClr val="bg1">
                  <a:lumMod val="6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0479" y="3234008"/>
            <a:ext cx="3840807" cy="2715279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714" y="3234008"/>
            <a:ext cx="3837625" cy="2463813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2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9923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me Assistant Dashboard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3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06491"/>
            <a:ext cx="9144000" cy="454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908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me Assistant Dashboard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4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627"/>
          <a:stretch/>
        </p:blipFill>
        <p:spPr>
          <a:xfrm>
            <a:off x="0" y="1505526"/>
            <a:ext cx="9144000" cy="4548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86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me Assistant Dashboard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5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990"/>
          <a:stretch/>
        </p:blipFill>
        <p:spPr>
          <a:xfrm>
            <a:off x="0" y="1500338"/>
            <a:ext cx="9144000" cy="4544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453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legram Bot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6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4870582" y="1738812"/>
            <a:ext cx="3500292" cy="4084471"/>
            <a:chOff x="4552949" y="1679007"/>
            <a:chExt cx="3250332" cy="3792794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52950" y="1679007"/>
              <a:ext cx="3250331" cy="3316505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52949" y="4995512"/>
              <a:ext cx="3250331" cy="476289"/>
            </a:xfrm>
            <a:prstGeom prst="rect">
              <a:avLst/>
            </a:prstGeom>
          </p:spPr>
        </p:pic>
      </p:grp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628650" y="1690688"/>
            <a:ext cx="3635342" cy="4211803"/>
            <a:chOff x="781049" y="1828801"/>
            <a:chExt cx="3250331" cy="376574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049" y="2602058"/>
              <a:ext cx="3250331" cy="2992483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894"/>
            <a:stretch/>
          </p:blipFill>
          <p:spPr>
            <a:xfrm>
              <a:off x="781049" y="1828801"/>
              <a:ext cx="3250331" cy="7732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5073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Outlook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63636"/>
                </a:lnSpc>
                <a:spcBef>
                  <a:spcPts val="0"/>
                </a:spcBef>
                <a:spcAft>
                  <a:spcPts val="0"/>
                </a:spcAft>
                <a:buSzPct val="25000"/>
                <a:buNone/>
              </a:pPr>
              <a:t>27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9596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ook: Project Part 2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What are we going to do?</a:t>
            </a:r>
          </a:p>
          <a:p>
            <a:pPr marL="0" indent="0">
              <a:buNone/>
            </a:pPr>
            <a:endParaRPr lang="en-US" dirty="0" smtClean="0"/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Conceptual app design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Central touchpoint (infos, functionalities,..)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Integration of various HHZ projects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Authentication as student/professor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Survey: Which features should the app have?</a:t>
            </a:r>
          </a:p>
          <a:p>
            <a:pPr marL="171450" lvl="1" indent="-180000">
              <a:lnSpc>
                <a:spcPct val="80000"/>
              </a:lnSpc>
              <a:spcBef>
                <a:spcPts val="750"/>
              </a:spcBef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Choice of app framework</a:t>
            </a:r>
          </a:p>
          <a:p>
            <a:pPr indent="-180000">
              <a:lnSpc>
                <a:spcPct val="80000"/>
              </a:lnSpc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Application programming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8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6919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ook: Project Part 2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Which further ideas do we have?</a:t>
            </a:r>
          </a:p>
          <a:p>
            <a:pPr marL="0" indent="0">
              <a:buNone/>
            </a:pPr>
            <a:endParaRPr lang="en-US" dirty="0" smtClean="0"/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Home Connect </a:t>
            </a: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interface</a:t>
            </a:r>
          </a:p>
          <a:p>
            <a:pPr lvl="1"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I</a:t>
            </a: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ntegrate </a:t>
            </a: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the smart home objects currently in our innovation room</a:t>
            </a:r>
          </a:p>
          <a:p>
            <a:pPr indent="-180000">
              <a:lnSpc>
                <a:spcPct val="80000"/>
              </a:lnSpc>
            </a:pPr>
            <a:endParaRPr lang="en-US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indent="-180000">
              <a:lnSpc>
                <a:spcPct val="80000"/>
              </a:lnSpc>
            </a:pPr>
            <a:r>
              <a:rPr lang="en-US" sz="1800" dirty="0">
                <a:latin typeface="Franklin Gothic Book" charset="0"/>
                <a:ea typeface="Franklin Gothic Book" charset="0"/>
                <a:cs typeface="Franklin Gothic Book" charset="0"/>
              </a:rPr>
              <a:t>Smart Contracts </a:t>
            </a:r>
          </a:p>
          <a:p>
            <a:pPr marL="514350" lvl="2" indent="-180000">
              <a:lnSpc>
                <a:spcPct val="80000"/>
              </a:lnSpc>
              <a:spcBef>
                <a:spcPts val="750"/>
              </a:spcBef>
            </a:pPr>
            <a:r>
              <a:rPr lang="en-US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Tamper-proof implementation of automatic contracts via blockchain</a:t>
            </a: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29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7023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Business Model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fld id="{00000000-1234-1234-1234-123412341234}" type="slidenum">
              <a:rPr lang="de-DE" sz="1100" smtClea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63636"/>
                </a:lnSpc>
                <a:spcBef>
                  <a:spcPts val="0"/>
                </a:spcBef>
                <a:spcAft>
                  <a:spcPts val="0"/>
                </a:spcAft>
                <a:buSzPct val="25000"/>
                <a:buNone/>
              </a:pPr>
              <a:t>3</a:t>
            </a:fld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661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 &amp; A</a:t>
            </a:r>
            <a:endParaRPr lang="de-DE" dirty="0"/>
          </a:p>
        </p:txBody>
      </p:sp>
      <p:pic>
        <p:nvPicPr>
          <p:cNvPr id="6" name="Grafik 5" descr="religio2eso - hom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4900" y="1231900"/>
            <a:ext cx="4394200" cy="4394200"/>
          </a:xfrm>
          <a:prstGeom prst="rect">
            <a:avLst/>
          </a:prstGeom>
        </p:spPr>
      </p:pic>
      <p:sp>
        <p:nvSpPr>
          <p:cNvPr id="7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 smtClean="0">
                <a:solidFill>
                  <a:srgbClr val="888888"/>
                </a:solidFill>
              </a:rPr>
              <a:t>30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7461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Shape 171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SzPct val="25000"/>
              <a:buFont typeface="Franklin Gothic"/>
              <a:buNone/>
            </a:pPr>
            <a:r>
              <a:rPr lang="de-DE" sz="2400" b="0" i="0" u="none" strike="noStrike" cap="none" dirty="0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Value Proposition Canva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90" y="1463040"/>
            <a:ext cx="8010536" cy="385572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130414" y="1646935"/>
            <a:ext cx="15011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Room monitoring</a:t>
            </a:r>
          </a:p>
          <a:p>
            <a:pPr marL="171450" lvl="3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utomation</a:t>
            </a:r>
          </a:p>
          <a:p>
            <a:pPr marL="171450" lvl="2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Remote control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67300" y="2952145"/>
            <a:ext cx="14991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ood monitor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41531" y="2503538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S</a:t>
            </a: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tudy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33567" y="2731840"/>
            <a:ext cx="9877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Lectur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33567" y="3763690"/>
            <a:ext cx="1081783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anaging facilities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64461" y="3400453"/>
            <a:ext cx="13292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Bad air quality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64461" y="3649688"/>
            <a:ext cx="18165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Loss of concentration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315421" y="1618875"/>
            <a:ext cx="23952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onitoring and remote control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93505" y="1858112"/>
            <a:ext cx="14991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ood monitoring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73662" y="3390900"/>
            <a:ext cx="1280704" cy="6513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Notifications based on sensor data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4421" y="4698235"/>
            <a:ext cx="2700997" cy="4419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Providing desired information per use case (student, lecturer ...)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25965" y="2347588"/>
            <a:ext cx="1316398" cy="9095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Sens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ct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mputation</a:t>
            </a:r>
            <a:endParaRPr lang="en-GB" sz="1200" dirty="0">
              <a:solidFill>
                <a:schemeClr val="accent5">
                  <a:lumMod val="75000"/>
                </a:schemeClr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39564" y="3763690"/>
            <a:ext cx="997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5">
                    <a:lumMod val="75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PI</a:t>
            </a:r>
          </a:p>
          <a:p>
            <a:endParaRPr lang="de-DE" sz="12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4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Shape 129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C000"/>
              </a:buClr>
              <a:buSzPct val="25000"/>
              <a:buFont typeface="Franklin Gothic"/>
              <a:buNone/>
            </a:pPr>
            <a:r>
              <a:rPr lang="de-DE" sz="2400" b="0" i="0" u="none" strike="noStrike" cap="none" dirty="0">
                <a:solidFill>
                  <a:srgbClr val="FFC000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Business Model Canva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424" y="1382886"/>
            <a:ext cx="7861935" cy="463223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2480" y="1760220"/>
            <a:ext cx="152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Vendors of hardware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Open source communities</a:t>
            </a:r>
            <a:endParaRPr lang="en-GB" sz="12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93820" y="1760218"/>
            <a:ext cx="152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Sensor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Actor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UI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API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mput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991350" y="1760216"/>
            <a:ext cx="152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Lecturer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Student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Facility management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Visitor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417820" y="3345074"/>
            <a:ext cx="152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Physical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Digita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346960" y="3345074"/>
            <a:ext cx="152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IoT device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Infrastructure (network, servers)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3rd party (web) servic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92480" y="5036820"/>
            <a:ext cx="3840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cquisition costs</a:t>
            </a:r>
            <a:endParaRPr lang="en-GB" sz="1200" dirty="0">
              <a:solidFill>
                <a:schemeClr val="tx1"/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latin typeface="Franklin Gothic Book" charset="0"/>
                <a:ea typeface="Franklin Gothic Book" charset="0"/>
                <a:cs typeface="Franklin Gothic Book" charset="0"/>
              </a:rPr>
              <a:t>Infrastructur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338387" y="1760220"/>
            <a:ext cx="152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Collecting sensor data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Providing UIs and APIs</a:t>
            </a:r>
            <a:endParaRPr lang="en-GB" sz="1200" dirty="0">
              <a:solidFill>
                <a:schemeClr val="tx1"/>
              </a:solidFill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Maintaining infrastructur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435917" y="1705232"/>
            <a:ext cx="1524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Acquisition by study or contract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rPr>
              <a:t>Raising awareness through digitalization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5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ision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0" indent="0">
              <a:buNone/>
            </a:pP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Services for different types of customer:</a:t>
            </a: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Notification</a:t>
            </a:r>
            <a:r>
              <a:rPr lang="de-DE" sz="1800" dirty="0">
                <a:latin typeface="Franklin Gothic Book" charset="0"/>
                <a:ea typeface="Franklin Gothic Book" charset="0"/>
                <a:cs typeface="Franklin Gothic Book" charset="0"/>
              </a:rPr>
              <a:t> </a:t>
            </a:r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service</a:t>
            </a:r>
            <a:endParaRPr lang="de-DE" sz="1800" dirty="0">
              <a:latin typeface="Franklin Gothic Book" charset="0"/>
              <a:ea typeface="Franklin Gothic Book" charset="0"/>
              <a:cs typeface="Franklin Gothic Book" charset="0"/>
            </a:endParaRP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Roominfo service</a:t>
            </a: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Student service</a:t>
            </a:r>
          </a:p>
          <a:p>
            <a:pPr lvl="1" indent="-180000"/>
            <a:r>
              <a:rPr lang="de-DE" sz="1800" dirty="0" smtClean="0">
                <a:latin typeface="Franklin Gothic Book" charset="0"/>
                <a:ea typeface="Franklin Gothic Book" charset="0"/>
                <a:cs typeface="Franklin Gothic Book" charset="0"/>
              </a:rPr>
              <a:t>Lecture service</a:t>
            </a:r>
          </a:p>
          <a:p>
            <a:endParaRPr lang="de-DE" dirty="0"/>
          </a:p>
          <a:p>
            <a:pPr marL="127000" indent="0">
              <a:buNone/>
            </a:pPr>
            <a:endParaRPr lang="de-D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6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471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roject Management</a:t>
            </a:r>
            <a:endParaRPr lang="de-DE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7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1586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ct </a:t>
            </a:r>
            <a:r>
              <a:rPr lang="de-DE" dirty="0"/>
              <a:t>M</a:t>
            </a:r>
            <a:r>
              <a:rPr lang="de-DE" dirty="0" smtClean="0"/>
              <a:t>anagement </a:t>
            </a:r>
            <a:r>
              <a:rPr lang="de-DE" dirty="0"/>
              <a:t>T</a:t>
            </a:r>
            <a:r>
              <a:rPr lang="de-DE" dirty="0" smtClean="0"/>
              <a:t>ools</a:t>
            </a:r>
            <a:endParaRPr lang="de-DE" dirty="0"/>
          </a:p>
        </p:txBody>
      </p:sp>
      <p:pic>
        <p:nvPicPr>
          <p:cNvPr id="8" name="Inhaltsplatzhalter 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0963" y="1582318"/>
            <a:ext cx="4148465" cy="3255633"/>
          </a:xfrm>
        </p:spPr>
      </p:pic>
      <p:pic>
        <p:nvPicPr>
          <p:cNvPr id="10" name="Bild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611" y="1537992"/>
            <a:ext cx="2334161" cy="1750621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6409" y="1690689"/>
            <a:ext cx="2198941" cy="967534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49" y="4551705"/>
            <a:ext cx="2990824" cy="994449"/>
          </a:xfrm>
          <a:prstGeom prst="rect">
            <a:avLst/>
          </a:prstGeom>
        </p:spPr>
      </p:pic>
      <p:pic>
        <p:nvPicPr>
          <p:cNvPr id="3" name="Bild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5350" y="3696082"/>
            <a:ext cx="2540000" cy="1943100"/>
          </a:xfrm>
          <a:prstGeom prst="rect">
            <a:avLst/>
          </a:prstGeom>
        </p:spPr>
      </p:pic>
      <p:sp>
        <p:nvSpPr>
          <p:cNvPr id="9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8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05118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</a:t>
            </a:r>
            <a:r>
              <a:rPr lang="de-DE" dirty="0" smtClean="0"/>
              <a:t>rello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charset="0"/>
              <a:buChar char="•"/>
            </a:pPr>
            <a:endParaRPr lang="de-DE" dirty="0"/>
          </a:p>
          <a:p>
            <a:pPr>
              <a:buFont typeface="Arial" charset="0"/>
              <a:buChar char="•"/>
            </a:pPr>
            <a:endParaRPr lang="de-DE" dirty="0" smtClean="0"/>
          </a:p>
          <a:p>
            <a:pPr>
              <a:buFont typeface="Arial" charset="0"/>
              <a:buChar char="•"/>
            </a:pPr>
            <a:endParaRPr lang="de-DE" dirty="0"/>
          </a:p>
          <a:p>
            <a:pPr>
              <a:buFont typeface="Arial" charset="0"/>
              <a:buChar char="•"/>
            </a:pPr>
            <a:endParaRPr lang="de-DE" dirty="0"/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 smtClean="0">
              <a:solidFill>
                <a:schemeClr val="bg1">
                  <a:lumMod val="65000"/>
                </a:schemeClr>
              </a:solidFill>
            </a:endParaRPr>
          </a:p>
          <a:p>
            <a:pPr marL="0" indent="0">
              <a:buNone/>
            </a:pPr>
            <a:endParaRPr lang="de-DE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9451" y="1377539"/>
            <a:ext cx="7656897" cy="4562670"/>
          </a:xfrm>
          <a:prstGeom prst="rect">
            <a:avLst/>
          </a:prstGeom>
        </p:spPr>
      </p:pic>
      <p:sp>
        <p:nvSpPr>
          <p:cNvPr id="6" name="Slide Number Placeholder 3"/>
          <p:cNvSpPr>
            <a:spLocks noGrp="1"/>
          </p:cNvSpPr>
          <p:nvPr>
            <p:ph type="sldNum" idx="12"/>
          </p:nvPr>
        </p:nvSpPr>
        <p:spPr>
          <a:xfrm>
            <a:off x="3524250" y="6394852"/>
            <a:ext cx="2057400" cy="365125"/>
          </a:xfrm>
        </p:spPr>
        <p:txBody>
          <a:bodyPr/>
          <a:lstStyle/>
          <a:p>
            <a:pPr marL="0" marR="0" lvl="0" indent="0" algn="ctr" rtl="0">
              <a:lnSpc>
                <a:spcPct val="163636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de-DE" sz="1100" dirty="0">
                <a:solidFill>
                  <a:srgbClr val="888888"/>
                </a:solidFill>
              </a:rPr>
              <a:t>9</a:t>
            </a:r>
            <a:endParaRPr lang="de-DE" sz="1100" dirty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1093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</TotalTime>
  <Words>614</Words>
  <Application>Microsoft Macintosh PowerPoint</Application>
  <PresentationFormat>On-screen Show (4:3)</PresentationFormat>
  <Paragraphs>297</Paragraphs>
  <Slides>3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9" baseType="lpstr">
      <vt:lpstr>Calibri</vt:lpstr>
      <vt:lpstr>Franklin Gothic</vt:lpstr>
      <vt:lpstr>Franklin Gothic Book</vt:lpstr>
      <vt:lpstr>Noto Sans Symbols</vt:lpstr>
      <vt:lpstr>Source Sans Pro</vt:lpstr>
      <vt:lpstr>Wingdings</vt:lpstr>
      <vt:lpstr>Arial</vt:lpstr>
      <vt:lpstr>Office Theme</vt:lpstr>
      <vt:lpstr>think-cell Folie</vt:lpstr>
      <vt:lpstr>Digital HHZ   Abderraouf Gharbi, Julia Hain, Valeria Kinitzki, Peter Kühfuß, Manh Phi Nguyen, Natascha Sigle GitHub Repository: https://github.com/Bariumm/HHZ_IoT</vt:lpstr>
      <vt:lpstr>Agenda</vt:lpstr>
      <vt:lpstr>Business Model</vt:lpstr>
      <vt:lpstr>Value Proposition Canvas</vt:lpstr>
      <vt:lpstr>Business Model Canvas</vt:lpstr>
      <vt:lpstr>Vision</vt:lpstr>
      <vt:lpstr>Project Management</vt:lpstr>
      <vt:lpstr>Project Management Tools</vt:lpstr>
      <vt:lpstr>Trello</vt:lpstr>
      <vt:lpstr>Sensors</vt:lpstr>
      <vt:lpstr>Sensors</vt:lpstr>
      <vt:lpstr>Additional Hardware</vt:lpstr>
      <vt:lpstr>Sensor Plan</vt:lpstr>
      <vt:lpstr>Sensor Cases 3D Prints – Humidity Sensor</vt:lpstr>
      <vt:lpstr>Sensor Cases 3D Prints – Motion Sensor</vt:lpstr>
      <vt:lpstr>Sensors Infrastructure</vt:lpstr>
      <vt:lpstr>Cost Structure</vt:lpstr>
      <vt:lpstr>Overview</vt:lpstr>
      <vt:lpstr>Infrastructure</vt:lpstr>
      <vt:lpstr>Technologies</vt:lpstr>
      <vt:lpstr>Hackathon</vt:lpstr>
      <vt:lpstr>Hackathon Project Integration</vt:lpstr>
      <vt:lpstr>Home Assistant Dashboard</vt:lpstr>
      <vt:lpstr>Home Assistant Dashboard</vt:lpstr>
      <vt:lpstr>Home Assistant Dashboard</vt:lpstr>
      <vt:lpstr>Telegram Bot</vt:lpstr>
      <vt:lpstr>Outlook</vt:lpstr>
      <vt:lpstr>Outlook: Project Part 2</vt:lpstr>
      <vt:lpstr>Outlook: Project Part 2</vt:lpstr>
      <vt:lpstr>Q &amp; A</vt:lpstr>
    </vt:vector>
  </TitlesOfParts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Model Canvas</dc:title>
  <dc:creator>Natascha S</dc:creator>
  <cp:lastModifiedBy>Julia Hain</cp:lastModifiedBy>
  <cp:revision>46</cp:revision>
  <dcterms:modified xsi:type="dcterms:W3CDTF">2017-10-06T10:50:10Z</dcterms:modified>
</cp:coreProperties>
</file>